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  <Override PartName="/ppt/charts/colors1.xml" ContentType="application/vnd.ms-office.chartcolorstyle+xml"/>
  <Override PartName="/ppt/charts/style1.xml" ContentType="application/vnd.ms-office.chartstyl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55" r:id="rId1"/>
  </p:sldMasterIdLst>
  <p:notesMasterIdLst>
    <p:notesMasterId r:id="rId3"/>
  </p:notesMasterIdLst>
  <p:sldIdLst>
    <p:sldId id="256" r:id="rId2"/>
  </p:sldIdLst>
  <p:sldSz cx="6858000" cy="9144000" type="screen4x3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D426C"/>
    <a:srgbClr val="0E436D"/>
    <a:srgbClr val="ED8E1B"/>
    <a:srgbClr val="356D9B"/>
    <a:srgbClr val="000000"/>
    <a:srgbClr val="29557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>
        <p:scale>
          <a:sx n="95" d="100"/>
          <a:sy n="95" d="100"/>
        </p:scale>
        <p:origin x="-1858" y="-144"/>
      </p:cViewPr>
      <p:guideLst>
        <p:guide orient="horz" pos="2880"/>
        <p:guide pos="216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microsoft.com/office/2011/relationships/chartStyle" Target="style1.xml"/><Relationship Id="rId2" Type="http://schemas.microsoft.com/office/2011/relationships/chartColorStyle" Target="colors1.xml"/><Relationship Id="rId1" Type="http://schemas.openxmlformats.org/officeDocument/2006/relationships/package" Target="../embeddings/_____Microsoft_Excel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0"/>
      <c:rotY val="0"/>
      <c:depthPercent val="60"/>
      <c:rAngAx val="0"/>
      <c:perspective val="100"/>
    </c:view3D>
    <c:floor>
      <c:thickness val="0"/>
      <c:spPr>
        <a:solidFill>
          <a:schemeClr val="lt1">
            <a:lumMod val="95000"/>
          </a:schemeClr>
        </a:solidFill>
        <a:ln>
          <a:noFill/>
        </a:ln>
        <a:effectLst/>
        <a:sp3d/>
      </c:spPr>
    </c:floor>
    <c:sideWall>
      <c:thickness val="0"/>
      <c:spPr>
        <a:noFill/>
        <a:ln>
          <a:solidFill>
            <a:srgbClr val="0D426C"/>
          </a:solidFill>
        </a:ln>
        <a:effectLst/>
        <a:sp3d>
          <a:contourClr>
            <a:srgbClr val="0D426C"/>
          </a:contourClr>
        </a:sp3d>
      </c:spPr>
    </c:sideWall>
    <c:backWall>
      <c:thickness val="0"/>
      <c:spPr>
        <a:noFill/>
        <a:ln>
          <a:solidFill>
            <a:srgbClr val="0D426C"/>
          </a:solidFill>
        </a:ln>
        <a:effectLst/>
        <a:sp3d>
          <a:contourClr>
            <a:srgbClr val="0D426C"/>
          </a:contourClr>
        </a:sp3d>
      </c:spPr>
    </c:backWall>
    <c:plotArea>
      <c:layout>
        <c:manualLayout>
          <c:layoutTarget val="inner"/>
          <c:xMode val="edge"/>
          <c:yMode val="edge"/>
          <c:x val="0"/>
          <c:y val="0"/>
          <c:w val="1"/>
          <c:h val="0.79650105664876925"/>
        </c:manualLayout>
      </c:layout>
      <c:bar3DChart>
        <c:barDir val="col"/>
        <c:grouping val="clustered"/>
        <c:varyColors val="0"/>
        <c:ser>
          <c:idx val="0"/>
          <c:order val="0"/>
          <c:tx>
            <c:strRef>
              <c:f>Лист1!$L$41</c:f>
              <c:strCache>
                <c:ptCount val="1"/>
                <c:pt idx="0">
                  <c:v>Объем производства, млрд.тг</c:v>
                </c:pt>
              </c:strCache>
            </c:strRef>
          </c:tx>
          <c:spPr>
            <a:solidFill>
              <a:schemeClr val="accent1"/>
            </a:solidFill>
            <a:ln w="9525" cap="flat" cmpd="sng" algn="ctr">
              <a:solidFill>
                <a:schemeClr val="accent1"/>
              </a:solidFill>
              <a:round/>
            </a:ln>
            <a:effectLst/>
            <a:sp3d contourW="9525">
              <a:contourClr>
                <a:schemeClr val="accent1"/>
              </a:contourClr>
            </a:sp3d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 w="9525" cap="flat" cmpd="sng" algn="ctr">
                <a:solidFill>
                  <a:schemeClr val="accent1"/>
                </a:solidFill>
                <a:round/>
              </a:ln>
              <a:effectLst/>
              <a:sp3d contourW="9525">
                <a:contourClr>
                  <a:schemeClr val="accent1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ABF2-4E39-8A08-CBD60E047F29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/>
              </a:solidFill>
              <a:ln w="9525" cap="flat" cmpd="sng" algn="ctr">
                <a:solidFill>
                  <a:schemeClr val="accent1"/>
                </a:solidFill>
                <a:round/>
              </a:ln>
              <a:effectLst/>
              <a:sp3d contourW="9525">
                <a:contourClr>
                  <a:schemeClr val="accent1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ABF2-4E39-8A08-CBD60E047F29}"/>
              </c:ext>
            </c:extLst>
          </c:dPt>
          <c:dLbls>
            <c:dLbl>
              <c:idx val="0"/>
              <c:layout>
                <c:manualLayout>
                  <c:x val="-2.6625056912703685E-3"/>
                  <c:y val="0.26775709167792328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ABF2-4E39-8A08-CBD60E047F29}"/>
                </c:ext>
              </c:extLst>
            </c:dLbl>
            <c:dLbl>
              <c:idx val="1"/>
              <c:layout>
                <c:manualLayout>
                  <c:x val="-5.6516526802534678E-4"/>
                  <c:y val="0.3527655869786156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>
                    <c:manualLayout>
                      <c:w val="0.12535567489540772"/>
                      <c:h val="0.14233905233192248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ABF2-4E39-8A08-CBD60E047F2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dk1">
                          <a:lumMod val="50000"/>
                          <a:lumOff val="50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Лист1!$M$40:$N$40</c:f>
              <c:strCache>
                <c:ptCount val="2"/>
                <c:pt idx="0">
                  <c:v>янв.-нояб. 2020</c:v>
                </c:pt>
                <c:pt idx="1">
                  <c:v>янв.-нояб. 2021</c:v>
                </c:pt>
              </c:strCache>
            </c:strRef>
          </c:cat>
          <c:val>
            <c:numRef>
              <c:f>Лист1!$M$41:$N$41</c:f>
              <c:numCache>
                <c:formatCode>General</c:formatCode>
                <c:ptCount val="2"/>
                <c:pt idx="0">
                  <c:v>602.20000000000005</c:v>
                </c:pt>
                <c:pt idx="1">
                  <c:v>820.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ABF2-4E39-8A08-CBD60E047F29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65"/>
        <c:shape val="box"/>
        <c:axId val="167501184"/>
        <c:axId val="167590912"/>
        <c:axId val="0"/>
      </c:bar3DChart>
      <c:catAx>
        <c:axId val="16750118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19050" cap="flat" cmpd="sng" algn="ctr">
            <a:solidFill>
              <a:schemeClr val="dk1">
                <a:lumMod val="75000"/>
                <a:lumOff val="2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cap="all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67590912"/>
        <c:crosses val="autoZero"/>
        <c:auto val="1"/>
        <c:lblAlgn val="ctr"/>
        <c:lblOffset val="100"/>
        <c:noMultiLvlLbl val="0"/>
      </c:catAx>
      <c:valAx>
        <c:axId val="167590912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dk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crossAx val="167501184"/>
        <c:crosses val="autoZero"/>
        <c:crossBetween val="between"/>
      </c:valAx>
      <c:spPr>
        <a:solidFill>
          <a:srgbClr val="0E436D"/>
        </a:solidFill>
        <a:ln>
          <a:noFill/>
        </a:ln>
        <a:effectLst/>
      </c:spPr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gradFill flip="none" rotWithShape="1">
      <a:gsLst>
        <a:gs pos="0">
          <a:schemeClr val="lt1"/>
        </a:gs>
        <a:gs pos="39000">
          <a:schemeClr val="lt1"/>
        </a:gs>
        <a:gs pos="100000">
          <a:schemeClr val="lt1">
            <a:lumMod val="75000"/>
          </a:schemeClr>
        </a:gs>
      </a:gsLst>
      <a:path path="circle">
        <a:fillToRect l="50000" t="-80000" r="50000" b="180000"/>
      </a:path>
      <a:tileRect/>
    </a:gradFill>
    <a:ln w="9525" cap="flat" cmpd="sng" algn="ctr">
      <a:solidFill>
        <a:srgbClr val="0D426C"/>
      </a:solidFill>
      <a:round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88">
  <cs:axisTitle>
    <cs:lnRef idx="0"/>
    <cs:fillRef idx="0"/>
    <cs:effectRef idx="0"/>
    <cs:fontRef idx="minor">
      <a:schemeClr val="dk1">
        <a:lumMod val="75000"/>
        <a:lumOff val="25000"/>
      </a:schemeClr>
    </cs:fontRef>
    <cs:defRPr sz="900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900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dk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lt1"/>
    </cs:fontRef>
    <cs:spPr>
      <a:solidFill>
        <a:schemeClr val="dk1">
          <a:lumMod val="65000"/>
          <a:lumOff val="35000"/>
          <a:alpha val="75000"/>
        </a:schemeClr>
      </a:solidFill>
    </cs:spPr>
    <cs:defRPr sz="90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  <a:ln w="9525" cap="flat" cmpd="sng" algn="ctr">
        <a:solidFill>
          <a:schemeClr val="phClr">
            <a:lumMod val="75000"/>
          </a:schemeClr>
        </a:solidFill>
        <a:round/>
      </a:ln>
    </cs:spPr>
  </cs:dataPoint>
  <cs:dataPoint3D>
    <cs:lnRef idx="0">
      <cs:styleClr val="auto"/>
    </cs:lnRef>
    <cs:fillRef idx="0">
      <cs:styleClr val="auto"/>
    </cs:fillRef>
    <cs:effectRef idx="0">
      <cs:styleClr val="auto"/>
    </cs:effectRef>
    <cs:fontRef idx="minor">
      <a:schemeClr val="dk1"/>
    </cs:fontRef>
    <cs:spPr>
      <a:solidFill>
        <a:schemeClr val="phClr">
          <a:alpha val="85000"/>
        </a:schemeClr>
      </a:solidFill>
      <a:ln w="9525" cap="flat" cmpd="sng" algn="ctr">
        <a:solidFill>
          <a:schemeClr val="phClr">
            <a:lumMod val="75000"/>
          </a:schemeClr>
        </a:solidFill>
        <a:round/>
      </a:ln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  <cs:spPr>
      <a:solidFill>
        <a:schemeClr val="lt1">
          <a:lumMod val="95000"/>
        </a:schemeClr>
      </a:solidFill>
      <a:sp3d/>
    </cs:spPr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900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/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18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3DB7DB0-3C48-41DA-8224-2B8784E685CC}" type="datetimeFigureOut">
              <a:rPr lang="ru-RU" smtClean="0"/>
              <a:t>09.02.202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2143125" y="685800"/>
            <a:ext cx="257175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1B64E37-B2CB-4E16-B22C-2D87157AA9C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6107030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1B64E37-B2CB-4E16-B22C-2D87157AA9CC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175989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14485" y="794692"/>
            <a:ext cx="5632880" cy="4285309"/>
          </a:xfrm>
        </p:spPr>
        <p:txBody>
          <a:bodyPr anchor="b">
            <a:normAutofit/>
          </a:bodyPr>
          <a:lstStyle>
            <a:lvl1pPr algn="ctr">
              <a:defRPr sz="3000">
                <a:effectLst>
                  <a:glow rad="38100">
                    <a:schemeClr val="bg1">
                      <a:lumMod val="65000"/>
                      <a:lumOff val="35000"/>
                      <a:alpha val="50000"/>
                    </a:schemeClr>
                  </a:glow>
                  <a:outerShdw blurRad="28575" dist="31750" dir="1320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14485" y="5181600"/>
            <a:ext cx="5632880" cy="2958811"/>
          </a:xfrm>
        </p:spPr>
        <p:txBody>
          <a:bodyPr anchor="t">
            <a:normAutofit/>
          </a:bodyPr>
          <a:lstStyle>
            <a:lvl1pPr marL="0" indent="0" algn="ctr">
              <a:buNone/>
              <a:defRPr sz="1350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0" scaled="1"/>
                  <a:tileRect/>
                </a:gra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9.02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4364011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анорамная фотография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8258" y="5836647"/>
            <a:ext cx="5559755" cy="1210007"/>
          </a:xfrm>
        </p:spPr>
        <p:txBody>
          <a:bodyPr anchor="b">
            <a:normAutofit/>
          </a:bodyPr>
          <a:lstStyle>
            <a:lvl1pPr algn="l">
              <a:defRPr sz="1500" b="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88259" y="1328251"/>
            <a:ext cx="5476070" cy="3974835"/>
          </a:xfrm>
          <a:prstGeom prst="roundRect">
            <a:avLst>
              <a:gd name="adj" fmla="val 4380"/>
            </a:avLst>
          </a:prstGeom>
          <a:ln w="38100">
            <a:gradFill flip="none" rotWithShape="1">
              <a:gsLst>
                <a:gs pos="0">
                  <a:schemeClr val="bg2"/>
                </a:gs>
                <a:gs pos="100000">
                  <a:schemeClr val="bg2">
                    <a:lumMod val="75000"/>
                  </a:schemeClr>
                </a:gs>
              </a:gsLst>
              <a:lin ang="5400000" scaled="0"/>
              <a:tileRect/>
            </a:gradFill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200"/>
            </a:lvl1pPr>
            <a:lvl2pPr marL="342900" indent="0">
              <a:buNone/>
              <a:defRPr sz="1200"/>
            </a:lvl2pPr>
            <a:lvl3pPr marL="685800" indent="0">
              <a:buNone/>
              <a:defRPr sz="1200"/>
            </a:lvl3pPr>
            <a:lvl4pPr marL="1028700" indent="0">
              <a:buNone/>
              <a:defRPr sz="1200"/>
            </a:lvl4pPr>
            <a:lvl5pPr marL="1371600" indent="0">
              <a:buNone/>
              <a:defRPr sz="1200"/>
            </a:lvl5pPr>
            <a:lvl6pPr marL="1714500" indent="0">
              <a:buNone/>
              <a:defRPr sz="1200"/>
            </a:lvl6pPr>
            <a:lvl7pPr marL="2057400" indent="0">
              <a:buNone/>
              <a:defRPr sz="1200"/>
            </a:lvl7pPr>
            <a:lvl8pPr marL="2400300" indent="0">
              <a:buNone/>
              <a:defRPr sz="1200"/>
            </a:lvl8pPr>
            <a:lvl9pPr marL="2743200" indent="0">
              <a:buNone/>
              <a:defRPr sz="12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8258" y="7046653"/>
            <a:ext cx="5559755" cy="1089427"/>
          </a:xfrm>
        </p:spPr>
        <p:txBody>
          <a:bodyPr>
            <a:normAutofit/>
          </a:bodyPr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9.02.2022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688258" y="8241793"/>
            <a:ext cx="4002959" cy="486833"/>
          </a:xfrm>
        </p:spPr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338847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подпис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3760" y="794691"/>
            <a:ext cx="5633606" cy="4183709"/>
          </a:xfrm>
        </p:spPr>
        <p:txBody>
          <a:bodyPr anchor="ctr">
            <a:normAutofit/>
          </a:bodyPr>
          <a:lstStyle>
            <a:lvl1pPr algn="l">
              <a:defRPr sz="2100" b="0" cap="all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3760" y="5791200"/>
            <a:ext cx="5633606" cy="2344880"/>
          </a:xfrm>
        </p:spPr>
        <p:txBody>
          <a:bodyPr anchor="ctr">
            <a:normAutofit/>
          </a:bodyPr>
          <a:lstStyle>
            <a:lvl1pPr marL="0" indent="0" algn="l">
              <a:buNone/>
              <a:defRPr sz="1350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  <a:tileRect/>
                </a:gra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9.02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0929985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Цитата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/>
          <p:cNvSpPr txBox="1"/>
          <p:nvPr/>
        </p:nvSpPr>
        <p:spPr>
          <a:xfrm>
            <a:off x="437864" y="1147035"/>
            <a:ext cx="342989" cy="779701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en-US" sz="6000" dirty="0">
                <a:solidFill>
                  <a:schemeClr val="accent1"/>
                </a:solidFill>
              </a:rPr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5916617" y="3981231"/>
            <a:ext cx="342989" cy="779701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 algn="r"/>
            <a:r>
              <a:rPr lang="en-US" sz="6000" dirty="0">
                <a:solidFill>
                  <a:schemeClr val="accent1"/>
                </a:solidFill>
              </a:rPr>
              <a:t>”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3707" y="794691"/>
            <a:ext cx="5230586" cy="4058772"/>
          </a:xfrm>
        </p:spPr>
        <p:txBody>
          <a:bodyPr anchor="ctr">
            <a:normAutofit/>
          </a:bodyPr>
          <a:lstStyle>
            <a:lvl1pPr algn="l">
              <a:defRPr sz="2100" b="0" cap="all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  <a:tileRect/>
                </a:gra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942327" y="4867475"/>
            <a:ext cx="4973346" cy="508000"/>
          </a:xfrm>
        </p:spPr>
        <p:txBody>
          <a:bodyPr anchor="ctr">
            <a:normAutofit/>
          </a:bodyPr>
          <a:lstStyle>
            <a:lvl1pPr marL="0" indent="0">
              <a:buFontTx/>
              <a:buNone/>
              <a:defRPr sz="1050"/>
            </a:lvl1pPr>
            <a:lvl2pPr marL="342900" indent="0">
              <a:buFontTx/>
              <a:buNone/>
              <a:defRPr/>
            </a:lvl2pPr>
            <a:lvl3pPr marL="685800" indent="0">
              <a:buFontTx/>
              <a:buNone/>
              <a:defRPr/>
            </a:lvl3pPr>
            <a:lvl4pPr marL="1028700" indent="0">
              <a:buFontTx/>
              <a:buNone/>
              <a:defRPr/>
            </a:lvl4pPr>
            <a:lvl5pPr marL="1371600" indent="0">
              <a:buFontTx/>
              <a:buNone/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3761" y="6188275"/>
            <a:ext cx="5633605" cy="1930400"/>
          </a:xfrm>
        </p:spPr>
        <p:txBody>
          <a:bodyPr anchor="ctr">
            <a:normAutofit/>
          </a:bodyPr>
          <a:lstStyle>
            <a:lvl1pPr marL="0" indent="0" algn="l">
              <a:buNone/>
              <a:defRPr sz="1350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0" scaled="1"/>
                  <a:tileRect/>
                </a:gra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9.02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5998083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арточка и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3760" y="4804755"/>
            <a:ext cx="5634254" cy="1958400"/>
          </a:xfrm>
        </p:spPr>
        <p:txBody>
          <a:bodyPr anchor="b">
            <a:normAutofit/>
          </a:bodyPr>
          <a:lstStyle>
            <a:lvl1pPr algn="l">
              <a:defRPr sz="2100" b="0" cap="all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5762" y="6763155"/>
            <a:ext cx="5634254" cy="1372925"/>
          </a:xfrm>
        </p:spPr>
        <p:txBody>
          <a:bodyPr anchor="t">
            <a:normAutofit/>
          </a:bodyPr>
          <a:lstStyle>
            <a:lvl1pPr marL="0" indent="0" algn="l">
              <a:buNone/>
              <a:defRPr sz="1350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  <a:tileRect/>
                </a:gra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9.02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8677214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Цитата карточки и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/>
          <p:cNvSpPr txBox="1"/>
          <p:nvPr/>
        </p:nvSpPr>
        <p:spPr>
          <a:xfrm>
            <a:off x="437864" y="1005135"/>
            <a:ext cx="342989" cy="779701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en-US" sz="6000" dirty="0">
                <a:solidFill>
                  <a:schemeClr val="accent1"/>
                </a:solidFill>
              </a:rPr>
              <a:t>“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5915668" y="3839331"/>
            <a:ext cx="342989" cy="779701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 algn="r"/>
            <a:r>
              <a:rPr lang="en-US" sz="6000" dirty="0">
                <a:solidFill>
                  <a:schemeClr val="accent1"/>
                </a:solidFill>
              </a:rPr>
              <a:t>”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3707" y="794691"/>
            <a:ext cx="5230586" cy="3792492"/>
          </a:xfrm>
        </p:spPr>
        <p:txBody>
          <a:bodyPr anchor="ctr">
            <a:normAutofit/>
          </a:bodyPr>
          <a:lstStyle>
            <a:lvl1pPr algn="l">
              <a:defRPr sz="2100" b="0" cap="all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  <a:tileRect/>
                </a:gra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13760" y="5181600"/>
            <a:ext cx="5634254" cy="1404883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1500" b="0" cap="all" dirty="0">
                <a:ln w="3175" cmpd="sng">
                  <a:noFill/>
                </a:ln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0" scaled="1"/>
                  <a:tileRect/>
                </a:gradFill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ru-RU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3760" y="6586483"/>
            <a:ext cx="5634254" cy="1549597"/>
          </a:xfrm>
        </p:spPr>
        <p:txBody>
          <a:bodyPr anchor="t">
            <a:normAutofit/>
          </a:bodyPr>
          <a:lstStyle>
            <a:lvl1pPr marL="0" indent="0" algn="l">
              <a:buNone/>
              <a:defRPr sz="1200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  <a:tileRect/>
                </a:gradFill>
              </a:defRPr>
            </a:lvl1pPr>
            <a:lvl2pPr marL="3429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9.02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5894638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Истина или лож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3760" y="794691"/>
            <a:ext cx="5633605" cy="3675711"/>
          </a:xfrm>
        </p:spPr>
        <p:txBody>
          <a:bodyPr vert="horz" lIns="91440" tIns="45720" rIns="91440" bIns="45720" rtlCol="0" anchor="ctr">
            <a:normAutofit/>
          </a:bodyPr>
          <a:lstStyle>
            <a:lvl1pPr>
              <a:defRPr lang="en-US" sz="2100" b="0" dirty="0"/>
            </a:lvl1pPr>
          </a:lstStyle>
          <a:p>
            <a:pPr marL="0" lvl="0"/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13760" y="4910589"/>
            <a:ext cx="5633605" cy="1399044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1800" b="0" cap="all" dirty="0">
                <a:ln w="3175" cmpd="sng">
                  <a:noFill/>
                </a:ln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  <a:tileRect/>
                </a:gradFill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ru-RU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3760" y="6309632"/>
            <a:ext cx="5633604" cy="1826448"/>
          </a:xfrm>
        </p:spPr>
        <p:txBody>
          <a:bodyPr anchor="t">
            <a:normAutofit/>
          </a:bodyPr>
          <a:lstStyle>
            <a:lvl1pPr marL="0" indent="0" algn="l">
              <a:buNone/>
              <a:defRPr sz="1200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  <a:tileRect/>
                </a:gradFill>
              </a:defRPr>
            </a:lvl1pPr>
            <a:lvl2pPr marL="3429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9.02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8785802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613761" y="794691"/>
            <a:ext cx="5633605" cy="1749973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9.02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8924951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913781" y="794691"/>
            <a:ext cx="1333584" cy="7341389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13761" y="794691"/>
            <a:ext cx="4218103" cy="7341389"/>
          </a:xfrm>
        </p:spPr>
        <p:txBody>
          <a:bodyPr vert="eaVert" anchor="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9.02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6379743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9.02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186211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4485" y="4360932"/>
            <a:ext cx="5632880" cy="2431073"/>
          </a:xfrm>
        </p:spPr>
        <p:txBody>
          <a:bodyPr anchor="b">
            <a:normAutofit/>
          </a:bodyPr>
          <a:lstStyle>
            <a:lvl1pPr algn="r">
              <a:defRPr sz="2100" b="0" cap="all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4485" y="6805080"/>
            <a:ext cx="5632880" cy="1331000"/>
          </a:xfrm>
        </p:spPr>
        <p:txBody>
          <a:bodyPr anchor="t">
            <a:normAutofit/>
          </a:bodyPr>
          <a:lstStyle>
            <a:lvl1pPr marL="0" indent="0" algn="r">
              <a:buNone/>
              <a:defRPr sz="1350">
                <a:gradFill flip="none" rotWithShape="1">
                  <a:gsLst>
                    <a:gs pos="0">
                      <a:schemeClr val="tx1"/>
                    </a:gs>
                    <a:gs pos="100000">
                      <a:schemeClr val="tx1">
                        <a:lumMod val="75000"/>
                      </a:schemeClr>
                    </a:gs>
                  </a:gsLst>
                  <a:lin ang="5400000" scaled="0"/>
                  <a:tileRect/>
                </a:gra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9.02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1135186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3761" y="2747865"/>
            <a:ext cx="2763805" cy="537510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80436" y="2747864"/>
            <a:ext cx="2766929" cy="5375107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9.02.2022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6958597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29730" y="2747864"/>
            <a:ext cx="2547835" cy="978128"/>
          </a:xfrm>
        </p:spPr>
        <p:txBody>
          <a:bodyPr anchor="b">
            <a:noAutofit/>
          </a:bodyPr>
          <a:lstStyle>
            <a:lvl1pPr marL="0" indent="0">
              <a:buNone/>
              <a:defRPr sz="1650" b="0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3761" y="3714704"/>
            <a:ext cx="2763805" cy="4421377"/>
          </a:xfrm>
        </p:spPr>
        <p:txBody>
          <a:bodyPr anchor="t"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682612" y="2747865"/>
            <a:ext cx="2564753" cy="966839"/>
          </a:xfrm>
        </p:spPr>
        <p:txBody>
          <a:bodyPr anchor="b">
            <a:noAutofit/>
          </a:bodyPr>
          <a:lstStyle>
            <a:lvl1pPr marL="0" indent="0">
              <a:buNone/>
              <a:defRPr sz="1650" b="0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471874" y="3714704"/>
            <a:ext cx="2776140" cy="4421377"/>
          </a:xfrm>
        </p:spPr>
        <p:txBody>
          <a:bodyPr anchor="t">
            <a:norm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9.02.2022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2177330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195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9.02.2022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6863182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9.02.2022</a:t>
            </a:fld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630155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3761" y="2339904"/>
            <a:ext cx="2047142" cy="1828800"/>
          </a:xfrm>
        </p:spPr>
        <p:txBody>
          <a:bodyPr anchor="b">
            <a:normAutofit/>
          </a:bodyPr>
          <a:lstStyle>
            <a:lvl1pPr algn="l">
              <a:defRPr sz="1650" b="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871642" y="794691"/>
            <a:ext cx="3375723" cy="7341388"/>
          </a:xfrm>
        </p:spPr>
        <p:txBody>
          <a:bodyPr anchor="ctr">
            <a:normAutofit/>
          </a:bodyPr>
          <a:lstStyle>
            <a:lvl1pPr>
              <a:defRPr sz="1350"/>
            </a:lvl1pPr>
            <a:lvl2pPr>
              <a:defRPr sz="1200"/>
            </a:lvl2pPr>
            <a:lvl3pPr>
              <a:defRPr sz="1050"/>
            </a:lvl3pPr>
            <a:lvl4pPr>
              <a:defRPr sz="900"/>
            </a:lvl4pPr>
            <a:lvl5pPr>
              <a:defRPr sz="825"/>
            </a:lvl5pPr>
            <a:lvl6pPr>
              <a:defRPr sz="825"/>
            </a:lvl6pPr>
            <a:lvl7pPr>
              <a:defRPr sz="825"/>
            </a:lvl7pPr>
            <a:lvl8pPr>
              <a:defRPr sz="825"/>
            </a:lvl8pPr>
            <a:lvl9pPr>
              <a:defRPr sz="825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13761" y="4168704"/>
            <a:ext cx="2047142" cy="2438400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9.02.2022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0659137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3761" y="2531025"/>
            <a:ext cx="3317852" cy="1828800"/>
          </a:xfrm>
        </p:spPr>
        <p:txBody>
          <a:bodyPr anchor="b">
            <a:normAutofit/>
          </a:bodyPr>
          <a:lstStyle>
            <a:lvl1pPr algn="l">
              <a:defRPr sz="1800" b="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4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136581" y="-24384"/>
            <a:ext cx="1875047" cy="9204960"/>
          </a:xfrm>
          <a:ln w="38100">
            <a:gradFill flip="none" rotWithShape="1">
              <a:gsLst>
                <a:gs pos="0">
                  <a:schemeClr val="bg2"/>
                </a:gs>
                <a:gs pos="100000">
                  <a:schemeClr val="bg2">
                    <a:lumMod val="75000"/>
                  </a:schemeClr>
                </a:gs>
              </a:gsLst>
              <a:lin ang="5400000" scaled="0"/>
              <a:tileRect/>
            </a:gradFill>
          </a:ln>
          <a:effectLst>
            <a:innerShdw blurRad="57150" dist="38100" dir="1080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200"/>
            </a:lvl1pPr>
            <a:lvl2pPr marL="342900" indent="0">
              <a:buNone/>
              <a:defRPr sz="1200"/>
            </a:lvl2pPr>
            <a:lvl3pPr marL="685800" indent="0">
              <a:buNone/>
              <a:defRPr sz="1200"/>
            </a:lvl3pPr>
            <a:lvl4pPr marL="1028700" indent="0">
              <a:buNone/>
              <a:defRPr sz="1200"/>
            </a:lvl4pPr>
            <a:lvl5pPr marL="1371600" indent="0">
              <a:buNone/>
              <a:defRPr sz="1200"/>
            </a:lvl5pPr>
            <a:lvl6pPr marL="1714500" indent="0">
              <a:buNone/>
              <a:defRPr sz="1200"/>
            </a:lvl6pPr>
            <a:lvl7pPr marL="2057400" indent="0">
              <a:buNone/>
              <a:defRPr sz="1200"/>
            </a:lvl7pPr>
            <a:lvl8pPr marL="2400300" indent="0">
              <a:buNone/>
              <a:defRPr sz="1200"/>
            </a:lvl8pPr>
            <a:lvl9pPr marL="2743200" indent="0">
              <a:buNone/>
              <a:defRPr sz="12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12989" y="4359825"/>
            <a:ext cx="3317852" cy="2438400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3392737" y="8241793"/>
            <a:ext cx="538877" cy="486833"/>
          </a:xfrm>
        </p:spPr>
        <p:txBody>
          <a:bodyPr/>
          <a:lstStyle/>
          <a:p>
            <a:fld id="{B4C71EC6-210F-42DE-9C53-41977AD35B3D}" type="datetimeFigureOut">
              <a:rPr lang="ru-RU" smtClean="0"/>
              <a:t>09.02.2022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613761" y="8241793"/>
            <a:ext cx="2778975" cy="486833"/>
          </a:xfrm>
        </p:spPr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018196" y="8241792"/>
            <a:ext cx="228890" cy="439000"/>
          </a:xfrm>
        </p:spPr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789796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13761" y="794691"/>
            <a:ext cx="5633605" cy="174997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3761" y="2747864"/>
            <a:ext cx="5633604" cy="53882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913781" y="8237681"/>
            <a:ext cx="965598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00" b="1" i="0">
                <a:solidFill>
                  <a:schemeClr val="tx1">
                    <a:lumMod val="75000"/>
                  </a:schemeClr>
                </a:solidFill>
                <a:effectLst>
                  <a:outerShdw blurRad="50800" dist="38100" dir="2700000" algn="tl" rotWithShape="0">
                    <a:srgbClr val="000000">
                      <a:alpha val="43000"/>
                    </a:srgbClr>
                  </a:outerShdw>
                </a:effectLst>
                <a:latin typeface="+mn-lt"/>
              </a:defRPr>
            </a:lvl1pPr>
          </a:lstStyle>
          <a:p>
            <a:fld id="{B4C71EC6-210F-42DE-9C53-41977AD35B3D}" type="datetimeFigureOut">
              <a:rPr lang="ru-RU" smtClean="0"/>
              <a:t>09.02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13761" y="8237681"/>
            <a:ext cx="4218103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00" b="1" i="0">
                <a:solidFill>
                  <a:schemeClr val="tx1">
                    <a:lumMod val="75000"/>
                  </a:schemeClr>
                </a:solidFill>
                <a:effectLst>
                  <a:outerShdw blurRad="50800" dist="38100" dir="2700000" algn="tl" rotWithShape="0">
                    <a:srgbClr val="000000">
                      <a:alpha val="43000"/>
                    </a:srgbClr>
                  </a:outerShdw>
                </a:effectLst>
                <a:latin typeface="+mn-lt"/>
              </a:defRPr>
            </a:lvl1pPr>
          </a:lstStyle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937902" y="8237681"/>
            <a:ext cx="310112" cy="48683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00" b="1" i="0">
                <a:solidFill>
                  <a:schemeClr val="tx1">
                    <a:lumMod val="75000"/>
                  </a:schemeClr>
                </a:solidFill>
                <a:effectLst>
                  <a:outerShdw blurRad="50800" dist="38100" dir="2700000" algn="tl" rotWithShape="0">
                    <a:srgbClr val="000000">
                      <a:alpha val="43000"/>
                    </a:srgbClr>
                  </a:outerShdw>
                </a:effectLst>
                <a:latin typeface="+mn-lt"/>
              </a:defRPr>
            </a:lvl1pPr>
          </a:lstStyle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929134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6" r:id="rId1"/>
    <p:sldLayoutId id="2147483957" r:id="rId2"/>
    <p:sldLayoutId id="2147483958" r:id="rId3"/>
    <p:sldLayoutId id="2147483959" r:id="rId4"/>
    <p:sldLayoutId id="2147483960" r:id="rId5"/>
    <p:sldLayoutId id="2147483961" r:id="rId6"/>
    <p:sldLayoutId id="2147483962" r:id="rId7"/>
    <p:sldLayoutId id="2147483963" r:id="rId8"/>
    <p:sldLayoutId id="2147483964" r:id="rId9"/>
    <p:sldLayoutId id="2147483965" r:id="rId10"/>
    <p:sldLayoutId id="2147483966" r:id="rId11"/>
    <p:sldLayoutId id="2147483967" r:id="rId12"/>
    <p:sldLayoutId id="2147483968" r:id="rId13"/>
    <p:sldLayoutId id="2147483969" r:id="rId14"/>
    <p:sldLayoutId id="2147483970" r:id="rId15"/>
    <p:sldLayoutId id="2147483971" r:id="rId16"/>
    <p:sldLayoutId id="2147483972" r:id="rId17"/>
  </p:sldLayoutIdLst>
  <p:txStyles>
    <p:titleStyle>
      <a:lvl1pPr algn="l" defTabSz="342900" rtl="0" eaLnBrk="1" latinLnBrk="0" hangingPunct="1">
        <a:spcBef>
          <a:spcPct val="0"/>
        </a:spcBef>
        <a:buNone/>
        <a:defRPr sz="2100" kern="1200" cap="all">
          <a:ln w="3175" cmpd="sng">
            <a:noFill/>
          </a:ln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400000" scaled="0"/>
            <a:tileRect/>
          </a:gradFill>
          <a:effectLst>
            <a:glow rad="38100">
              <a:schemeClr val="bg1">
                <a:lumMod val="65000"/>
                <a:lumOff val="35000"/>
                <a:alpha val="40000"/>
              </a:schemeClr>
            </a:glow>
            <a:outerShdw blurRad="28575" dist="38100" dir="14040000" algn="tl" rotWithShape="0">
              <a:srgbClr val="000000">
                <a:alpha val="25000"/>
              </a:srgbClr>
            </a:outerShdw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14313" indent="-214313" algn="l" defTabSz="342900" rtl="0" eaLnBrk="1" latinLnBrk="0" hangingPunct="1">
        <a:spcBef>
          <a:spcPct val="20000"/>
        </a:spcBef>
        <a:spcAft>
          <a:spcPts val="450"/>
        </a:spcAft>
        <a:buClr>
          <a:schemeClr val="tx1"/>
        </a:buClr>
        <a:buSzPct val="130000"/>
        <a:buFont typeface="Arial"/>
        <a:buChar char="•"/>
        <a:defRPr sz="1350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40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1pPr>
      <a:lvl2pPr marL="557213" indent="-214313" algn="l" defTabSz="342900" rtl="0" eaLnBrk="1" latinLnBrk="0" hangingPunct="1">
        <a:spcBef>
          <a:spcPct val="20000"/>
        </a:spcBef>
        <a:spcAft>
          <a:spcPts val="450"/>
        </a:spcAft>
        <a:buClr>
          <a:schemeClr val="tx1"/>
        </a:buClr>
        <a:buSzPct val="130000"/>
        <a:buFont typeface="Arial"/>
        <a:buChar char="•"/>
        <a:defRPr sz="1200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40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2pPr>
      <a:lvl3pPr marL="900113" indent="-214313" algn="l" defTabSz="342900" rtl="0" eaLnBrk="1" latinLnBrk="0" hangingPunct="1">
        <a:spcBef>
          <a:spcPct val="20000"/>
        </a:spcBef>
        <a:spcAft>
          <a:spcPts val="450"/>
        </a:spcAft>
        <a:buClr>
          <a:schemeClr val="tx1"/>
        </a:buClr>
        <a:buSzPct val="130000"/>
        <a:buFont typeface="Arial"/>
        <a:buChar char="•"/>
        <a:defRPr sz="1050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40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3pPr>
      <a:lvl4pPr marL="1157288" indent="-128588" algn="l" defTabSz="342900" rtl="0" eaLnBrk="1" latinLnBrk="0" hangingPunct="1">
        <a:spcBef>
          <a:spcPct val="20000"/>
        </a:spcBef>
        <a:spcAft>
          <a:spcPts val="450"/>
        </a:spcAft>
        <a:buClr>
          <a:schemeClr val="tx1"/>
        </a:buClr>
        <a:buSzPct val="130000"/>
        <a:buFont typeface="Arial"/>
        <a:buChar char="•"/>
        <a:defRPr sz="1050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40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4pPr>
      <a:lvl5pPr marL="1500188" indent="-128588" algn="l" defTabSz="342900" rtl="0" eaLnBrk="1" latinLnBrk="0" hangingPunct="1">
        <a:spcBef>
          <a:spcPct val="20000"/>
        </a:spcBef>
        <a:spcAft>
          <a:spcPts val="450"/>
        </a:spcAft>
        <a:buClr>
          <a:schemeClr val="tx1"/>
        </a:buClr>
        <a:buSzPct val="130000"/>
        <a:buFont typeface="Arial"/>
        <a:buChar char="•"/>
        <a:defRPr sz="900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40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5pPr>
      <a:lvl6pPr marL="1885950" indent="-171450" algn="l" defTabSz="342900" rtl="0" eaLnBrk="1" latinLnBrk="0" hangingPunct="1">
        <a:spcBef>
          <a:spcPct val="20000"/>
        </a:spcBef>
        <a:spcAft>
          <a:spcPts val="450"/>
        </a:spcAft>
        <a:buClr>
          <a:schemeClr val="tx1"/>
        </a:buClr>
        <a:buSzPct val="130000"/>
        <a:buFont typeface="Arial"/>
        <a:buChar char="•"/>
        <a:defRPr sz="825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40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6pPr>
      <a:lvl7pPr marL="2228850" indent="-171450" algn="l" defTabSz="342900" rtl="0" eaLnBrk="1" latinLnBrk="0" hangingPunct="1">
        <a:spcBef>
          <a:spcPct val="20000"/>
        </a:spcBef>
        <a:spcAft>
          <a:spcPts val="450"/>
        </a:spcAft>
        <a:buClr>
          <a:schemeClr val="tx1"/>
        </a:buClr>
        <a:buSzPct val="130000"/>
        <a:buFont typeface="Arial"/>
        <a:buChar char="•"/>
        <a:defRPr sz="825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40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7pPr>
      <a:lvl8pPr marL="2571750" indent="-171450" algn="l" defTabSz="342900" rtl="0" eaLnBrk="1" latinLnBrk="0" hangingPunct="1">
        <a:spcBef>
          <a:spcPct val="20000"/>
        </a:spcBef>
        <a:spcAft>
          <a:spcPts val="450"/>
        </a:spcAft>
        <a:buClr>
          <a:schemeClr val="tx1"/>
        </a:buClr>
        <a:buSzPct val="130000"/>
        <a:buFont typeface="Arial"/>
        <a:buChar char="•"/>
        <a:defRPr sz="825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40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8pPr>
      <a:lvl9pPr marL="2914650" indent="-171450" algn="l" defTabSz="342900" rtl="0" eaLnBrk="1" latinLnBrk="0" hangingPunct="1">
        <a:spcBef>
          <a:spcPct val="20000"/>
        </a:spcBef>
        <a:spcAft>
          <a:spcPts val="450"/>
        </a:spcAft>
        <a:buClr>
          <a:schemeClr val="tx1"/>
        </a:buClr>
        <a:buSzPct val="100000"/>
        <a:buFont typeface="Arial"/>
        <a:buChar char="•"/>
        <a:defRPr sz="825" kern="1200" cap="small">
          <a:gradFill flip="none" rotWithShape="1">
            <a:gsLst>
              <a:gs pos="0">
                <a:schemeClr val="tx1"/>
              </a:gs>
              <a:gs pos="100000">
                <a:schemeClr val="tx1">
                  <a:lumMod val="75000"/>
                </a:schemeClr>
              </a:gs>
            </a:gsLst>
            <a:lin ang="5400000" scaled="0"/>
            <a:tileRect/>
          </a:gradFill>
          <a:effectLst>
            <a:glow rad="38100">
              <a:schemeClr val="bg1">
                <a:lumMod val="50000"/>
                <a:lumOff val="50000"/>
                <a:alpha val="20000"/>
              </a:schemeClr>
            </a:glow>
            <a:outerShdw blurRad="44450" dist="12700" dir="13860000" algn="tl" rotWithShape="0">
              <a:srgbClr val="000000">
                <a:alpha val="20000"/>
              </a:srgbClr>
            </a:outerShdw>
          </a:effectLst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/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slideLayout" Target="../slideLayouts/slideLayout1.xml"/><Relationship Id="rId26" Type="http://schemas.microsoft.com/office/2007/relationships/hdphoto" Target="../media/hdphoto3.wdp"/><Relationship Id="rId3" Type="http://schemas.openxmlformats.org/officeDocument/2006/relationships/tags" Target="../tags/tag3.xml"/><Relationship Id="rId21" Type="http://schemas.openxmlformats.org/officeDocument/2006/relationships/image" Target="../media/image3.png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image" Target="../media/image5.png"/><Relationship Id="rId33" Type="http://schemas.openxmlformats.org/officeDocument/2006/relationships/chart" Target="../charts/chart1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image" Target="../media/image2.png"/><Relationship Id="rId29" Type="http://schemas.openxmlformats.org/officeDocument/2006/relationships/image" Target="../media/image7.pn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microsoft.com/office/2007/relationships/hdphoto" Target="../media/hdphoto2.wdp"/><Relationship Id="rId32" Type="http://schemas.microsoft.com/office/2007/relationships/hdphoto" Target="../media/hdphoto6.wdp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image" Target="../media/image4.png"/><Relationship Id="rId28" Type="http://schemas.microsoft.com/office/2007/relationships/hdphoto" Target="../media/hdphoto4.wdp"/><Relationship Id="rId10" Type="http://schemas.openxmlformats.org/officeDocument/2006/relationships/tags" Target="../tags/tag10.xml"/><Relationship Id="rId19" Type="http://schemas.openxmlformats.org/officeDocument/2006/relationships/notesSlide" Target="../notesSlides/notesSlide1.xml"/><Relationship Id="rId31" Type="http://schemas.openxmlformats.org/officeDocument/2006/relationships/image" Target="../media/image8.png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microsoft.com/office/2007/relationships/hdphoto" Target="../media/hdphoto1.wdp"/><Relationship Id="rId27" Type="http://schemas.openxmlformats.org/officeDocument/2006/relationships/image" Target="../media/image6.png"/><Relationship Id="rId30" Type="http://schemas.microsoft.com/office/2007/relationships/hdphoto" Target="../media/hdphoto5.wd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D426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Заголовок 1"/>
          <p:cNvSpPr txBox="1">
            <a:spLocks/>
          </p:cNvSpPr>
          <p:nvPr/>
        </p:nvSpPr>
        <p:spPr>
          <a:xfrm>
            <a:off x="322310" y="1999712"/>
            <a:ext cx="1467310" cy="774887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4400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3200" b="1" dirty="0">
                <a:solidFill>
                  <a:schemeClr val="accent1"/>
                </a:solidFill>
              </a:rPr>
              <a:t>820,2</a:t>
            </a:r>
            <a:r>
              <a:rPr lang="ru-RU" sz="3200" b="1" dirty="0">
                <a:solidFill>
                  <a:schemeClr val="accent4">
                    <a:lumMod val="40000"/>
                    <a:lumOff val="60000"/>
                  </a:schemeClr>
                </a:solidFill>
              </a:rPr>
              <a:t> </a:t>
            </a:r>
            <a:r>
              <a:rPr lang="en-US" sz="1800" b="1" dirty="0" err="1" smtClean="0">
                <a:solidFill>
                  <a:schemeClr val="bg1">
                    <a:lumMod val="75000"/>
                  </a:schemeClr>
                </a:solidFill>
              </a:rPr>
              <a:t>bln</a:t>
            </a:r>
            <a:r>
              <a:rPr lang="en-US" sz="1800" b="1" dirty="0" smtClean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en-US" sz="1800" b="1" dirty="0" err="1" smtClean="0">
                <a:solidFill>
                  <a:schemeClr val="bg1">
                    <a:lumMod val="75000"/>
                  </a:schemeClr>
                </a:solidFill>
              </a:rPr>
              <a:t>tg</a:t>
            </a:r>
            <a:endParaRPr lang="ru-RU" sz="1800" b="1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13" name="Заголовок 1"/>
          <p:cNvSpPr txBox="1">
            <a:spLocks/>
          </p:cNvSpPr>
          <p:nvPr/>
        </p:nvSpPr>
        <p:spPr>
          <a:xfrm>
            <a:off x="5169256" y="2006058"/>
            <a:ext cx="1593014" cy="774025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4400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3200" b="1" dirty="0">
                <a:solidFill>
                  <a:schemeClr val="accent1"/>
                </a:solidFill>
              </a:rPr>
              <a:t>109,2%</a:t>
            </a:r>
            <a:r>
              <a:rPr lang="en-US" sz="3200" b="1" dirty="0">
                <a:solidFill>
                  <a:schemeClr val="accent4">
                    <a:lumMod val="40000"/>
                    <a:lumOff val="60000"/>
                  </a:schemeClr>
                </a:solidFill>
              </a:rPr>
              <a:t> </a:t>
            </a:r>
            <a:r>
              <a:rPr lang="en-US" sz="1800" b="1" dirty="0" err="1" smtClean="0">
                <a:solidFill>
                  <a:schemeClr val="bg1">
                    <a:lumMod val="75000"/>
                  </a:schemeClr>
                </a:solidFill>
              </a:rPr>
              <a:t>pvi</a:t>
            </a:r>
            <a:endParaRPr lang="ru-RU" sz="1800" b="1" dirty="0">
              <a:solidFill>
                <a:schemeClr val="bg1">
                  <a:lumMod val="75000"/>
                </a:schemeClr>
              </a:solidFill>
            </a:endParaRPr>
          </a:p>
        </p:txBody>
      </p:sp>
      <p:cxnSp>
        <p:nvCxnSpPr>
          <p:cNvPr id="16" name="Прямая соединительная линия 15"/>
          <p:cNvCxnSpPr/>
          <p:nvPr/>
        </p:nvCxnSpPr>
        <p:spPr>
          <a:xfrm>
            <a:off x="820617" y="3131840"/>
            <a:ext cx="5688632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Freeform 101"/>
          <p:cNvSpPr>
            <a:spLocks noEditPoints="1"/>
          </p:cNvSpPr>
          <p:nvPr/>
        </p:nvSpPr>
        <p:spPr bwMode="auto">
          <a:xfrm>
            <a:off x="765268" y="1417870"/>
            <a:ext cx="487569" cy="449261"/>
          </a:xfrm>
          <a:custGeom>
            <a:avLst/>
            <a:gdLst>
              <a:gd name="T0" fmla="*/ 2147483646 w 68"/>
              <a:gd name="T1" fmla="*/ 2147483646 h 63"/>
              <a:gd name="T2" fmla="*/ 2147483646 w 68"/>
              <a:gd name="T3" fmla="*/ 2147483646 h 63"/>
              <a:gd name="T4" fmla="*/ 2147483646 w 68"/>
              <a:gd name="T5" fmla="*/ 2147483646 h 63"/>
              <a:gd name="T6" fmla="*/ 2147483646 w 68"/>
              <a:gd name="T7" fmla="*/ 2147483646 h 63"/>
              <a:gd name="T8" fmla="*/ 2147483646 w 68"/>
              <a:gd name="T9" fmla="*/ 2147483646 h 63"/>
              <a:gd name="T10" fmla="*/ 2147483646 w 68"/>
              <a:gd name="T11" fmla="*/ 2147483646 h 63"/>
              <a:gd name="T12" fmla="*/ 2147483646 w 68"/>
              <a:gd name="T13" fmla="*/ 2147483646 h 63"/>
              <a:gd name="T14" fmla="*/ 2147483646 w 68"/>
              <a:gd name="T15" fmla="*/ 2147483646 h 63"/>
              <a:gd name="T16" fmla="*/ 0 w 68"/>
              <a:gd name="T17" fmla="*/ 2147483646 h 63"/>
              <a:gd name="T18" fmla="*/ 2147483646 w 68"/>
              <a:gd name="T19" fmla="*/ 2147483646 h 63"/>
              <a:gd name="T20" fmla="*/ 2147483646 w 68"/>
              <a:gd name="T21" fmla="*/ 2147483646 h 63"/>
              <a:gd name="T22" fmla="*/ 2147483646 w 68"/>
              <a:gd name="T23" fmla="*/ 2147483646 h 63"/>
              <a:gd name="T24" fmla="*/ 2147483646 w 68"/>
              <a:gd name="T25" fmla="*/ 2147483646 h 63"/>
              <a:gd name="T26" fmla="*/ 2147483646 w 68"/>
              <a:gd name="T27" fmla="*/ 2147483646 h 63"/>
              <a:gd name="T28" fmla="*/ 2147483646 w 68"/>
              <a:gd name="T29" fmla="*/ 2147483646 h 63"/>
              <a:gd name="T30" fmla="*/ 2147483646 w 68"/>
              <a:gd name="T31" fmla="*/ 2147483646 h 63"/>
              <a:gd name="T32" fmla="*/ 2147483646 w 68"/>
              <a:gd name="T33" fmla="*/ 2147483646 h 63"/>
              <a:gd name="T34" fmla="*/ 2147483646 w 68"/>
              <a:gd name="T35" fmla="*/ 2147483646 h 63"/>
              <a:gd name="T36" fmla="*/ 2147483646 w 68"/>
              <a:gd name="T37" fmla="*/ 2147483646 h 63"/>
              <a:gd name="T38" fmla="*/ 2147483646 w 68"/>
              <a:gd name="T39" fmla="*/ 2147483646 h 63"/>
              <a:gd name="T40" fmla="*/ 2147483646 w 68"/>
              <a:gd name="T41" fmla="*/ 2147483646 h 63"/>
              <a:gd name="T42" fmla="*/ 2147483646 w 68"/>
              <a:gd name="T43" fmla="*/ 2147483646 h 63"/>
              <a:gd name="T44" fmla="*/ 2147483646 w 68"/>
              <a:gd name="T45" fmla="*/ 2147483646 h 63"/>
              <a:gd name="T46" fmla="*/ 2147483646 w 68"/>
              <a:gd name="T47" fmla="*/ 2147483646 h 63"/>
              <a:gd name="T48" fmla="*/ 2147483646 w 68"/>
              <a:gd name="T49" fmla="*/ 2147483646 h 63"/>
              <a:gd name="T50" fmla="*/ 2147483646 w 68"/>
              <a:gd name="T51" fmla="*/ 2147483646 h 63"/>
              <a:gd name="T52" fmla="*/ 2147483646 w 68"/>
              <a:gd name="T53" fmla="*/ 2147483646 h 63"/>
              <a:gd name="T54" fmla="*/ 2147483646 w 68"/>
              <a:gd name="T55" fmla="*/ 0 h 63"/>
              <a:gd name="T56" fmla="*/ 2147483646 w 68"/>
              <a:gd name="T57" fmla="*/ 2147483646 h 63"/>
              <a:gd name="T58" fmla="*/ 2147483646 w 68"/>
              <a:gd name="T59" fmla="*/ 2147483646 h 63"/>
              <a:gd name="T60" fmla="*/ 2147483646 w 68"/>
              <a:gd name="T61" fmla="*/ 2147483646 h 63"/>
              <a:gd name="T62" fmla="*/ 2147483646 w 68"/>
              <a:gd name="T63" fmla="*/ 2147483646 h 63"/>
              <a:gd name="T64" fmla="*/ 2147483646 w 68"/>
              <a:gd name="T65" fmla="*/ 2147483646 h 63"/>
              <a:gd name="T66" fmla="*/ 2147483646 w 68"/>
              <a:gd name="T67" fmla="*/ 2147483646 h 63"/>
              <a:gd name="T68" fmla="*/ 2147483646 w 68"/>
              <a:gd name="T69" fmla="*/ 2147483646 h 63"/>
              <a:gd name="T70" fmla="*/ 2147483646 w 68"/>
              <a:gd name="T71" fmla="*/ 2147483646 h 63"/>
              <a:gd name="T72" fmla="*/ 2147483646 w 68"/>
              <a:gd name="T73" fmla="*/ 2147483646 h 63"/>
              <a:gd name="T74" fmla="*/ 2147483646 w 68"/>
              <a:gd name="T75" fmla="*/ 2147483646 h 63"/>
              <a:gd name="T76" fmla="*/ 2147483646 w 68"/>
              <a:gd name="T77" fmla="*/ 2147483646 h 63"/>
              <a:gd name="T78" fmla="*/ 2147483646 w 68"/>
              <a:gd name="T79" fmla="*/ 2147483646 h 63"/>
              <a:gd name="T80" fmla="*/ 2147483646 w 68"/>
              <a:gd name="T81" fmla="*/ 2147483646 h 63"/>
              <a:gd name="T82" fmla="*/ 2147483646 w 68"/>
              <a:gd name="T83" fmla="*/ 2147483646 h 63"/>
              <a:gd name="T84" fmla="*/ 2147483646 w 68"/>
              <a:gd name="T85" fmla="*/ 2147483646 h 63"/>
              <a:gd name="T86" fmla="*/ 2147483646 w 68"/>
              <a:gd name="T87" fmla="*/ 2147483646 h 63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68" h="63">
                <a:moveTo>
                  <a:pt x="45" y="35"/>
                </a:moveTo>
                <a:cubicBezTo>
                  <a:pt x="45" y="35"/>
                  <a:pt x="45" y="36"/>
                  <a:pt x="45" y="36"/>
                </a:cubicBezTo>
                <a:cubicBezTo>
                  <a:pt x="39" y="36"/>
                  <a:pt x="39" y="36"/>
                  <a:pt x="39" y="36"/>
                </a:cubicBezTo>
                <a:cubicBezTo>
                  <a:pt x="39" y="37"/>
                  <a:pt x="38" y="38"/>
                  <a:pt x="38" y="39"/>
                </a:cubicBezTo>
                <a:cubicBezTo>
                  <a:pt x="39" y="41"/>
                  <a:pt x="40" y="42"/>
                  <a:pt x="41" y="43"/>
                </a:cubicBezTo>
                <a:cubicBezTo>
                  <a:pt x="41" y="43"/>
                  <a:pt x="41" y="44"/>
                  <a:pt x="41" y="44"/>
                </a:cubicBezTo>
                <a:cubicBezTo>
                  <a:pt x="41" y="44"/>
                  <a:pt x="41" y="44"/>
                  <a:pt x="41" y="45"/>
                </a:cubicBezTo>
                <a:cubicBezTo>
                  <a:pt x="40" y="46"/>
                  <a:pt x="36" y="50"/>
                  <a:pt x="35" y="50"/>
                </a:cubicBezTo>
                <a:cubicBezTo>
                  <a:pt x="35" y="50"/>
                  <a:pt x="35" y="50"/>
                  <a:pt x="35" y="50"/>
                </a:cubicBezTo>
                <a:cubicBezTo>
                  <a:pt x="31" y="47"/>
                  <a:pt x="31" y="47"/>
                  <a:pt x="31" y="47"/>
                </a:cubicBezTo>
                <a:cubicBezTo>
                  <a:pt x="30" y="47"/>
                  <a:pt x="29" y="47"/>
                  <a:pt x="28" y="48"/>
                </a:cubicBezTo>
                <a:cubicBezTo>
                  <a:pt x="28" y="49"/>
                  <a:pt x="27" y="51"/>
                  <a:pt x="27" y="53"/>
                </a:cubicBezTo>
                <a:cubicBezTo>
                  <a:pt x="27" y="54"/>
                  <a:pt x="26" y="54"/>
                  <a:pt x="26" y="54"/>
                </a:cubicBezTo>
                <a:cubicBezTo>
                  <a:pt x="19" y="54"/>
                  <a:pt x="19" y="54"/>
                  <a:pt x="19" y="54"/>
                </a:cubicBezTo>
                <a:cubicBezTo>
                  <a:pt x="19" y="54"/>
                  <a:pt x="18" y="54"/>
                  <a:pt x="18" y="53"/>
                </a:cubicBezTo>
                <a:cubicBezTo>
                  <a:pt x="17" y="48"/>
                  <a:pt x="17" y="48"/>
                  <a:pt x="17" y="48"/>
                </a:cubicBezTo>
                <a:cubicBezTo>
                  <a:pt x="16" y="47"/>
                  <a:pt x="16" y="47"/>
                  <a:pt x="15" y="47"/>
                </a:cubicBezTo>
                <a:cubicBezTo>
                  <a:pt x="11" y="50"/>
                  <a:pt x="11" y="50"/>
                  <a:pt x="11" y="50"/>
                </a:cubicBezTo>
                <a:cubicBezTo>
                  <a:pt x="10" y="50"/>
                  <a:pt x="10" y="50"/>
                  <a:pt x="10" y="50"/>
                </a:cubicBezTo>
                <a:cubicBezTo>
                  <a:pt x="10" y="50"/>
                  <a:pt x="9" y="50"/>
                  <a:pt x="9" y="50"/>
                </a:cubicBezTo>
                <a:cubicBezTo>
                  <a:pt x="8" y="49"/>
                  <a:pt x="4" y="45"/>
                  <a:pt x="4" y="44"/>
                </a:cubicBezTo>
                <a:cubicBezTo>
                  <a:pt x="4" y="44"/>
                  <a:pt x="4" y="44"/>
                  <a:pt x="4" y="43"/>
                </a:cubicBezTo>
                <a:cubicBezTo>
                  <a:pt x="5" y="42"/>
                  <a:pt x="6" y="41"/>
                  <a:pt x="7" y="39"/>
                </a:cubicBezTo>
                <a:cubicBezTo>
                  <a:pt x="7" y="38"/>
                  <a:pt x="6" y="37"/>
                  <a:pt x="6" y="36"/>
                </a:cubicBezTo>
                <a:cubicBezTo>
                  <a:pt x="1" y="35"/>
                  <a:pt x="1" y="35"/>
                  <a:pt x="1" y="35"/>
                </a:cubicBezTo>
                <a:cubicBezTo>
                  <a:pt x="0" y="35"/>
                  <a:pt x="0" y="35"/>
                  <a:pt x="0" y="34"/>
                </a:cubicBezTo>
                <a:cubicBezTo>
                  <a:pt x="0" y="28"/>
                  <a:pt x="0" y="28"/>
                  <a:pt x="0" y="28"/>
                </a:cubicBezTo>
                <a:cubicBezTo>
                  <a:pt x="0" y="27"/>
                  <a:pt x="0" y="27"/>
                  <a:pt x="1" y="27"/>
                </a:cubicBezTo>
                <a:cubicBezTo>
                  <a:pt x="6" y="26"/>
                  <a:pt x="6" y="26"/>
                  <a:pt x="6" y="26"/>
                </a:cubicBezTo>
                <a:cubicBezTo>
                  <a:pt x="6" y="25"/>
                  <a:pt x="7" y="24"/>
                  <a:pt x="7" y="23"/>
                </a:cubicBezTo>
                <a:cubicBezTo>
                  <a:pt x="6" y="22"/>
                  <a:pt x="5" y="20"/>
                  <a:pt x="4" y="19"/>
                </a:cubicBezTo>
                <a:cubicBezTo>
                  <a:pt x="4" y="19"/>
                  <a:pt x="4" y="19"/>
                  <a:pt x="4" y="18"/>
                </a:cubicBezTo>
                <a:cubicBezTo>
                  <a:pt x="4" y="18"/>
                  <a:pt x="4" y="18"/>
                  <a:pt x="4" y="18"/>
                </a:cubicBezTo>
                <a:cubicBezTo>
                  <a:pt x="5" y="17"/>
                  <a:pt x="9" y="12"/>
                  <a:pt x="10" y="12"/>
                </a:cubicBezTo>
                <a:cubicBezTo>
                  <a:pt x="10" y="12"/>
                  <a:pt x="10" y="12"/>
                  <a:pt x="11" y="13"/>
                </a:cubicBezTo>
                <a:cubicBezTo>
                  <a:pt x="15" y="16"/>
                  <a:pt x="15" y="16"/>
                  <a:pt x="15" y="16"/>
                </a:cubicBezTo>
                <a:cubicBezTo>
                  <a:pt x="16" y="15"/>
                  <a:pt x="16" y="15"/>
                  <a:pt x="17" y="15"/>
                </a:cubicBezTo>
                <a:cubicBezTo>
                  <a:pt x="18" y="13"/>
                  <a:pt x="18" y="11"/>
                  <a:pt x="18" y="9"/>
                </a:cubicBezTo>
                <a:cubicBezTo>
                  <a:pt x="18" y="9"/>
                  <a:pt x="19" y="8"/>
                  <a:pt x="19" y="8"/>
                </a:cubicBezTo>
                <a:cubicBezTo>
                  <a:pt x="26" y="8"/>
                  <a:pt x="26" y="8"/>
                  <a:pt x="26" y="8"/>
                </a:cubicBezTo>
                <a:cubicBezTo>
                  <a:pt x="26" y="8"/>
                  <a:pt x="27" y="9"/>
                  <a:pt x="27" y="9"/>
                </a:cubicBezTo>
                <a:cubicBezTo>
                  <a:pt x="28" y="15"/>
                  <a:pt x="28" y="15"/>
                  <a:pt x="28" y="15"/>
                </a:cubicBezTo>
                <a:cubicBezTo>
                  <a:pt x="29" y="15"/>
                  <a:pt x="30" y="15"/>
                  <a:pt x="31" y="16"/>
                </a:cubicBezTo>
                <a:cubicBezTo>
                  <a:pt x="35" y="13"/>
                  <a:pt x="35" y="13"/>
                  <a:pt x="35" y="13"/>
                </a:cubicBezTo>
                <a:cubicBezTo>
                  <a:pt x="35" y="12"/>
                  <a:pt x="35" y="12"/>
                  <a:pt x="35" y="12"/>
                </a:cubicBezTo>
                <a:cubicBezTo>
                  <a:pt x="36" y="12"/>
                  <a:pt x="36" y="12"/>
                  <a:pt x="36" y="13"/>
                </a:cubicBezTo>
                <a:cubicBezTo>
                  <a:pt x="37" y="13"/>
                  <a:pt x="41" y="17"/>
                  <a:pt x="41" y="18"/>
                </a:cubicBezTo>
                <a:cubicBezTo>
                  <a:pt x="41" y="19"/>
                  <a:pt x="41" y="19"/>
                  <a:pt x="41" y="19"/>
                </a:cubicBezTo>
                <a:cubicBezTo>
                  <a:pt x="40" y="20"/>
                  <a:pt x="39" y="22"/>
                  <a:pt x="38" y="23"/>
                </a:cubicBezTo>
                <a:cubicBezTo>
                  <a:pt x="38" y="24"/>
                  <a:pt x="39" y="25"/>
                  <a:pt x="39" y="26"/>
                </a:cubicBezTo>
                <a:cubicBezTo>
                  <a:pt x="45" y="27"/>
                  <a:pt x="45" y="27"/>
                  <a:pt x="45" y="27"/>
                </a:cubicBezTo>
                <a:cubicBezTo>
                  <a:pt x="45" y="27"/>
                  <a:pt x="45" y="27"/>
                  <a:pt x="45" y="28"/>
                </a:cubicBezTo>
                <a:lnTo>
                  <a:pt x="45" y="35"/>
                </a:lnTo>
                <a:close/>
                <a:moveTo>
                  <a:pt x="23" y="22"/>
                </a:moveTo>
                <a:cubicBezTo>
                  <a:pt x="18" y="22"/>
                  <a:pt x="13" y="26"/>
                  <a:pt x="13" y="31"/>
                </a:cubicBezTo>
                <a:cubicBezTo>
                  <a:pt x="13" y="36"/>
                  <a:pt x="18" y="40"/>
                  <a:pt x="23" y="40"/>
                </a:cubicBezTo>
                <a:cubicBezTo>
                  <a:pt x="28" y="40"/>
                  <a:pt x="32" y="36"/>
                  <a:pt x="32" y="31"/>
                </a:cubicBezTo>
                <a:cubicBezTo>
                  <a:pt x="32" y="26"/>
                  <a:pt x="28" y="22"/>
                  <a:pt x="23" y="22"/>
                </a:cubicBezTo>
                <a:close/>
                <a:moveTo>
                  <a:pt x="68" y="15"/>
                </a:moveTo>
                <a:cubicBezTo>
                  <a:pt x="68" y="16"/>
                  <a:pt x="64" y="16"/>
                  <a:pt x="63" y="16"/>
                </a:cubicBezTo>
                <a:cubicBezTo>
                  <a:pt x="63" y="17"/>
                  <a:pt x="62" y="18"/>
                  <a:pt x="62" y="18"/>
                </a:cubicBezTo>
                <a:cubicBezTo>
                  <a:pt x="62" y="19"/>
                  <a:pt x="64" y="23"/>
                  <a:pt x="64" y="23"/>
                </a:cubicBezTo>
                <a:cubicBezTo>
                  <a:pt x="64" y="23"/>
                  <a:pt x="64" y="23"/>
                  <a:pt x="64" y="24"/>
                </a:cubicBezTo>
                <a:cubicBezTo>
                  <a:pt x="63" y="24"/>
                  <a:pt x="59" y="26"/>
                  <a:pt x="59" y="26"/>
                </a:cubicBezTo>
                <a:cubicBezTo>
                  <a:pt x="59" y="26"/>
                  <a:pt x="56" y="22"/>
                  <a:pt x="56" y="22"/>
                </a:cubicBezTo>
                <a:cubicBezTo>
                  <a:pt x="55" y="22"/>
                  <a:pt x="55" y="22"/>
                  <a:pt x="55" y="22"/>
                </a:cubicBezTo>
                <a:cubicBezTo>
                  <a:pt x="54" y="22"/>
                  <a:pt x="54" y="22"/>
                  <a:pt x="54" y="22"/>
                </a:cubicBezTo>
                <a:cubicBezTo>
                  <a:pt x="53" y="22"/>
                  <a:pt x="50" y="26"/>
                  <a:pt x="50" y="26"/>
                </a:cubicBezTo>
                <a:cubicBezTo>
                  <a:pt x="50" y="26"/>
                  <a:pt x="46" y="24"/>
                  <a:pt x="46" y="24"/>
                </a:cubicBezTo>
                <a:cubicBezTo>
                  <a:pt x="45" y="23"/>
                  <a:pt x="45" y="23"/>
                  <a:pt x="45" y="23"/>
                </a:cubicBezTo>
                <a:cubicBezTo>
                  <a:pt x="45" y="23"/>
                  <a:pt x="47" y="19"/>
                  <a:pt x="47" y="18"/>
                </a:cubicBezTo>
                <a:cubicBezTo>
                  <a:pt x="47" y="18"/>
                  <a:pt x="46" y="17"/>
                  <a:pt x="46" y="16"/>
                </a:cubicBezTo>
                <a:cubicBezTo>
                  <a:pt x="45" y="16"/>
                  <a:pt x="41" y="16"/>
                  <a:pt x="41" y="15"/>
                </a:cubicBezTo>
                <a:cubicBezTo>
                  <a:pt x="41" y="10"/>
                  <a:pt x="41" y="10"/>
                  <a:pt x="41" y="10"/>
                </a:cubicBezTo>
                <a:cubicBezTo>
                  <a:pt x="41" y="10"/>
                  <a:pt x="45" y="9"/>
                  <a:pt x="46" y="9"/>
                </a:cubicBezTo>
                <a:cubicBezTo>
                  <a:pt x="46" y="9"/>
                  <a:pt x="47" y="8"/>
                  <a:pt x="47" y="7"/>
                </a:cubicBezTo>
                <a:cubicBezTo>
                  <a:pt x="47" y="7"/>
                  <a:pt x="45" y="3"/>
                  <a:pt x="45" y="2"/>
                </a:cubicBezTo>
                <a:cubicBezTo>
                  <a:pt x="45" y="2"/>
                  <a:pt x="45" y="2"/>
                  <a:pt x="46" y="2"/>
                </a:cubicBezTo>
                <a:cubicBezTo>
                  <a:pt x="46" y="2"/>
                  <a:pt x="50" y="0"/>
                  <a:pt x="50" y="0"/>
                </a:cubicBezTo>
                <a:cubicBezTo>
                  <a:pt x="50" y="0"/>
                  <a:pt x="53" y="3"/>
                  <a:pt x="54" y="4"/>
                </a:cubicBezTo>
                <a:cubicBezTo>
                  <a:pt x="54" y="4"/>
                  <a:pt x="54" y="4"/>
                  <a:pt x="55" y="4"/>
                </a:cubicBezTo>
                <a:cubicBezTo>
                  <a:pt x="55" y="4"/>
                  <a:pt x="55" y="4"/>
                  <a:pt x="56" y="4"/>
                </a:cubicBezTo>
                <a:cubicBezTo>
                  <a:pt x="57" y="2"/>
                  <a:pt x="58" y="1"/>
                  <a:pt x="59" y="0"/>
                </a:cubicBezTo>
                <a:cubicBezTo>
                  <a:pt x="59" y="0"/>
                  <a:pt x="59" y="0"/>
                  <a:pt x="59" y="0"/>
                </a:cubicBezTo>
                <a:cubicBezTo>
                  <a:pt x="59" y="0"/>
                  <a:pt x="63" y="2"/>
                  <a:pt x="64" y="2"/>
                </a:cubicBezTo>
                <a:cubicBezTo>
                  <a:pt x="64" y="2"/>
                  <a:pt x="64" y="2"/>
                  <a:pt x="64" y="2"/>
                </a:cubicBezTo>
                <a:cubicBezTo>
                  <a:pt x="64" y="3"/>
                  <a:pt x="62" y="7"/>
                  <a:pt x="62" y="7"/>
                </a:cubicBezTo>
                <a:cubicBezTo>
                  <a:pt x="62" y="8"/>
                  <a:pt x="63" y="9"/>
                  <a:pt x="63" y="9"/>
                </a:cubicBezTo>
                <a:cubicBezTo>
                  <a:pt x="64" y="9"/>
                  <a:pt x="68" y="10"/>
                  <a:pt x="68" y="10"/>
                </a:cubicBezTo>
                <a:lnTo>
                  <a:pt x="68" y="15"/>
                </a:lnTo>
                <a:close/>
                <a:moveTo>
                  <a:pt x="68" y="52"/>
                </a:moveTo>
                <a:cubicBezTo>
                  <a:pt x="68" y="52"/>
                  <a:pt x="64" y="53"/>
                  <a:pt x="63" y="53"/>
                </a:cubicBezTo>
                <a:cubicBezTo>
                  <a:pt x="63" y="54"/>
                  <a:pt x="62" y="54"/>
                  <a:pt x="62" y="55"/>
                </a:cubicBezTo>
                <a:cubicBezTo>
                  <a:pt x="62" y="56"/>
                  <a:pt x="64" y="59"/>
                  <a:pt x="64" y="60"/>
                </a:cubicBezTo>
                <a:cubicBezTo>
                  <a:pt x="64" y="60"/>
                  <a:pt x="64" y="60"/>
                  <a:pt x="64" y="60"/>
                </a:cubicBezTo>
                <a:cubicBezTo>
                  <a:pt x="63" y="60"/>
                  <a:pt x="59" y="63"/>
                  <a:pt x="59" y="63"/>
                </a:cubicBezTo>
                <a:cubicBezTo>
                  <a:pt x="59" y="63"/>
                  <a:pt x="56" y="59"/>
                  <a:pt x="56" y="59"/>
                </a:cubicBezTo>
                <a:cubicBezTo>
                  <a:pt x="55" y="59"/>
                  <a:pt x="55" y="59"/>
                  <a:pt x="55" y="59"/>
                </a:cubicBezTo>
                <a:cubicBezTo>
                  <a:pt x="54" y="59"/>
                  <a:pt x="54" y="59"/>
                  <a:pt x="54" y="59"/>
                </a:cubicBezTo>
                <a:cubicBezTo>
                  <a:pt x="53" y="59"/>
                  <a:pt x="50" y="63"/>
                  <a:pt x="50" y="63"/>
                </a:cubicBezTo>
                <a:cubicBezTo>
                  <a:pt x="50" y="63"/>
                  <a:pt x="46" y="60"/>
                  <a:pt x="46" y="60"/>
                </a:cubicBezTo>
                <a:cubicBezTo>
                  <a:pt x="45" y="60"/>
                  <a:pt x="45" y="60"/>
                  <a:pt x="45" y="60"/>
                </a:cubicBezTo>
                <a:cubicBezTo>
                  <a:pt x="45" y="59"/>
                  <a:pt x="47" y="56"/>
                  <a:pt x="47" y="55"/>
                </a:cubicBezTo>
                <a:cubicBezTo>
                  <a:pt x="47" y="54"/>
                  <a:pt x="46" y="54"/>
                  <a:pt x="46" y="53"/>
                </a:cubicBezTo>
                <a:cubicBezTo>
                  <a:pt x="45" y="53"/>
                  <a:pt x="41" y="52"/>
                  <a:pt x="41" y="52"/>
                </a:cubicBezTo>
                <a:cubicBezTo>
                  <a:pt x="41" y="47"/>
                  <a:pt x="41" y="47"/>
                  <a:pt x="41" y="47"/>
                </a:cubicBezTo>
                <a:cubicBezTo>
                  <a:pt x="41" y="46"/>
                  <a:pt x="45" y="46"/>
                  <a:pt x="46" y="46"/>
                </a:cubicBezTo>
                <a:cubicBezTo>
                  <a:pt x="46" y="45"/>
                  <a:pt x="47" y="45"/>
                  <a:pt x="47" y="44"/>
                </a:cubicBezTo>
                <a:cubicBezTo>
                  <a:pt x="47" y="43"/>
                  <a:pt x="45" y="40"/>
                  <a:pt x="45" y="39"/>
                </a:cubicBezTo>
                <a:cubicBezTo>
                  <a:pt x="45" y="39"/>
                  <a:pt x="45" y="39"/>
                  <a:pt x="46" y="39"/>
                </a:cubicBezTo>
                <a:cubicBezTo>
                  <a:pt x="46" y="39"/>
                  <a:pt x="50" y="36"/>
                  <a:pt x="50" y="36"/>
                </a:cubicBezTo>
                <a:cubicBezTo>
                  <a:pt x="50" y="36"/>
                  <a:pt x="53" y="40"/>
                  <a:pt x="54" y="40"/>
                </a:cubicBezTo>
                <a:cubicBezTo>
                  <a:pt x="54" y="40"/>
                  <a:pt x="54" y="40"/>
                  <a:pt x="55" y="40"/>
                </a:cubicBezTo>
                <a:cubicBezTo>
                  <a:pt x="55" y="40"/>
                  <a:pt x="55" y="40"/>
                  <a:pt x="56" y="40"/>
                </a:cubicBezTo>
                <a:cubicBezTo>
                  <a:pt x="57" y="39"/>
                  <a:pt x="58" y="38"/>
                  <a:pt x="59" y="36"/>
                </a:cubicBezTo>
                <a:cubicBezTo>
                  <a:pt x="59" y="36"/>
                  <a:pt x="59" y="36"/>
                  <a:pt x="59" y="36"/>
                </a:cubicBezTo>
                <a:cubicBezTo>
                  <a:pt x="59" y="36"/>
                  <a:pt x="63" y="39"/>
                  <a:pt x="64" y="39"/>
                </a:cubicBezTo>
                <a:cubicBezTo>
                  <a:pt x="64" y="39"/>
                  <a:pt x="64" y="39"/>
                  <a:pt x="64" y="39"/>
                </a:cubicBezTo>
                <a:cubicBezTo>
                  <a:pt x="64" y="40"/>
                  <a:pt x="62" y="43"/>
                  <a:pt x="62" y="44"/>
                </a:cubicBezTo>
                <a:cubicBezTo>
                  <a:pt x="62" y="45"/>
                  <a:pt x="63" y="45"/>
                  <a:pt x="63" y="46"/>
                </a:cubicBezTo>
                <a:cubicBezTo>
                  <a:pt x="64" y="46"/>
                  <a:pt x="68" y="46"/>
                  <a:pt x="68" y="47"/>
                </a:cubicBezTo>
                <a:lnTo>
                  <a:pt x="68" y="52"/>
                </a:lnTo>
                <a:close/>
                <a:moveTo>
                  <a:pt x="55" y="8"/>
                </a:moveTo>
                <a:cubicBezTo>
                  <a:pt x="52" y="8"/>
                  <a:pt x="50" y="10"/>
                  <a:pt x="50" y="13"/>
                </a:cubicBezTo>
                <a:cubicBezTo>
                  <a:pt x="50" y="15"/>
                  <a:pt x="52" y="17"/>
                  <a:pt x="55" y="17"/>
                </a:cubicBezTo>
                <a:cubicBezTo>
                  <a:pt x="57" y="17"/>
                  <a:pt x="59" y="15"/>
                  <a:pt x="59" y="13"/>
                </a:cubicBezTo>
                <a:cubicBezTo>
                  <a:pt x="59" y="10"/>
                  <a:pt x="57" y="8"/>
                  <a:pt x="55" y="8"/>
                </a:cubicBezTo>
                <a:close/>
                <a:moveTo>
                  <a:pt x="55" y="45"/>
                </a:moveTo>
                <a:cubicBezTo>
                  <a:pt x="52" y="45"/>
                  <a:pt x="50" y="47"/>
                  <a:pt x="50" y="49"/>
                </a:cubicBezTo>
                <a:cubicBezTo>
                  <a:pt x="50" y="52"/>
                  <a:pt x="52" y="54"/>
                  <a:pt x="55" y="54"/>
                </a:cubicBezTo>
                <a:cubicBezTo>
                  <a:pt x="57" y="54"/>
                  <a:pt x="59" y="52"/>
                  <a:pt x="59" y="49"/>
                </a:cubicBezTo>
                <a:cubicBezTo>
                  <a:pt x="59" y="47"/>
                  <a:pt x="57" y="45"/>
                  <a:pt x="55" y="45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/>
          <a:lstStyle/>
          <a:p>
            <a:endParaRPr lang="ru-RU"/>
          </a:p>
        </p:txBody>
      </p:sp>
      <p:sp>
        <p:nvSpPr>
          <p:cNvPr id="21" name="AutoShape 6" descr="трактор, компьютерные иконки, сельское хозяйство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12" name="Заголовок 1"/>
          <p:cNvSpPr txBox="1">
            <a:spLocks/>
          </p:cNvSpPr>
          <p:nvPr/>
        </p:nvSpPr>
        <p:spPr>
          <a:xfrm>
            <a:off x="622905" y="4866796"/>
            <a:ext cx="1398654" cy="530188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4400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800" b="1" dirty="0" smtClean="0">
                <a:solidFill>
                  <a:schemeClr val="bg1">
                    <a:lumMod val="75000"/>
                  </a:schemeClr>
                </a:solidFill>
              </a:rPr>
              <a:t>EXPORT</a:t>
            </a:r>
            <a:endParaRPr lang="ru-RU" sz="1800" b="1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113" name="Заголовок 1"/>
          <p:cNvSpPr txBox="1">
            <a:spLocks/>
          </p:cNvSpPr>
          <p:nvPr/>
        </p:nvSpPr>
        <p:spPr>
          <a:xfrm>
            <a:off x="5302508" y="4843600"/>
            <a:ext cx="1398654" cy="530188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4400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800" b="1" dirty="0" smtClean="0">
                <a:solidFill>
                  <a:schemeClr val="bg1">
                    <a:lumMod val="75000"/>
                  </a:schemeClr>
                </a:solidFill>
              </a:rPr>
              <a:t>import</a:t>
            </a:r>
            <a:endParaRPr lang="ru-RU" sz="1800" b="1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114" name="Заголовок 1"/>
          <p:cNvSpPr txBox="1">
            <a:spLocks/>
          </p:cNvSpPr>
          <p:nvPr/>
        </p:nvSpPr>
        <p:spPr>
          <a:xfrm>
            <a:off x="379407" y="3356273"/>
            <a:ext cx="2323920" cy="530188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4400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 b="1" dirty="0">
                <a:solidFill>
                  <a:schemeClr val="accent1"/>
                </a:solidFill>
              </a:rPr>
              <a:t>$</a:t>
            </a:r>
            <a:r>
              <a:rPr lang="ru-RU" sz="3200" b="1" dirty="0">
                <a:solidFill>
                  <a:schemeClr val="accent1"/>
                </a:solidFill>
              </a:rPr>
              <a:t> 184,5 </a:t>
            </a:r>
            <a:r>
              <a:rPr lang="kk-KZ" sz="1200" b="1" dirty="0" smtClean="0">
                <a:solidFill>
                  <a:schemeClr val="bg1">
                    <a:lumMod val="75000"/>
                  </a:schemeClr>
                </a:solidFill>
              </a:rPr>
              <a:t>м</a:t>
            </a:r>
            <a:r>
              <a:rPr lang="en-US" sz="1200" b="1" dirty="0" err="1" smtClean="0">
                <a:solidFill>
                  <a:schemeClr val="bg1">
                    <a:lumMod val="75000"/>
                  </a:schemeClr>
                </a:solidFill>
              </a:rPr>
              <a:t>io</a:t>
            </a:r>
            <a:r>
              <a:rPr lang="en-US" sz="1200" b="1" dirty="0" smtClean="0">
                <a:solidFill>
                  <a:schemeClr val="bg1">
                    <a:lumMod val="75000"/>
                  </a:schemeClr>
                </a:solidFill>
              </a:rPr>
              <a:t>.</a:t>
            </a:r>
            <a:endParaRPr lang="ru-RU" sz="1800" b="1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115" name="Заголовок 1"/>
          <p:cNvSpPr txBox="1">
            <a:spLocks/>
          </p:cNvSpPr>
          <p:nvPr/>
        </p:nvSpPr>
        <p:spPr>
          <a:xfrm>
            <a:off x="4755079" y="3322940"/>
            <a:ext cx="2066767" cy="530188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4400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 b="1" dirty="0">
                <a:solidFill>
                  <a:schemeClr val="accent1"/>
                </a:solidFill>
              </a:rPr>
              <a:t>$</a:t>
            </a:r>
            <a:r>
              <a:rPr lang="ru-RU" sz="3200" b="1" dirty="0">
                <a:solidFill>
                  <a:schemeClr val="accent1"/>
                </a:solidFill>
              </a:rPr>
              <a:t> 1 152 </a:t>
            </a:r>
            <a:r>
              <a:rPr lang="ru-RU" sz="1200" b="1" dirty="0" smtClean="0">
                <a:solidFill>
                  <a:schemeClr val="bg1">
                    <a:lumMod val="75000"/>
                  </a:schemeClr>
                </a:solidFill>
              </a:rPr>
              <a:t>м</a:t>
            </a:r>
            <a:r>
              <a:rPr lang="en-US" sz="1200" b="1" dirty="0" err="1" smtClean="0">
                <a:solidFill>
                  <a:schemeClr val="bg1">
                    <a:lumMod val="75000"/>
                  </a:schemeClr>
                </a:solidFill>
              </a:rPr>
              <a:t>io</a:t>
            </a:r>
            <a:r>
              <a:rPr lang="en-US" sz="1200" b="1" dirty="0" smtClean="0">
                <a:solidFill>
                  <a:schemeClr val="bg1">
                    <a:lumMod val="75000"/>
                  </a:schemeClr>
                </a:solidFill>
              </a:rPr>
              <a:t>.</a:t>
            </a:r>
            <a:endParaRPr lang="ru-RU" sz="1800" b="1" dirty="0">
              <a:solidFill>
                <a:schemeClr val="bg1">
                  <a:lumMod val="75000"/>
                </a:schemeClr>
              </a:solidFill>
            </a:endParaRPr>
          </a:p>
        </p:txBody>
      </p:sp>
      <p:cxnSp>
        <p:nvCxnSpPr>
          <p:cNvPr id="25" name="Прямая соединительная линия 24"/>
          <p:cNvCxnSpPr/>
          <p:nvPr/>
        </p:nvCxnSpPr>
        <p:spPr>
          <a:xfrm>
            <a:off x="580369" y="5797820"/>
            <a:ext cx="5688632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Рисунок 2"/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7693" y="12256"/>
            <a:ext cx="1758115" cy="346338"/>
          </a:xfrm>
          <a:prstGeom prst="rect">
            <a:avLst/>
          </a:prstGeom>
          <a:solidFill>
            <a:schemeClr val="bg2">
              <a:lumMod val="25000"/>
            </a:schemeClr>
          </a:solidFill>
        </p:spPr>
      </p:pic>
      <p:sp>
        <p:nvSpPr>
          <p:cNvPr id="55" name="Прямоугольник 54"/>
          <p:cNvSpPr/>
          <p:nvPr/>
        </p:nvSpPr>
        <p:spPr>
          <a:xfrm>
            <a:off x="0" y="8744193"/>
            <a:ext cx="6845808" cy="396699"/>
          </a:xfrm>
          <a:prstGeom prst="rect">
            <a:avLst/>
          </a:prstGeom>
          <a:solidFill>
            <a:schemeClr val="bg2">
              <a:lumMod val="25000"/>
            </a:schemeClr>
          </a:solidFill>
          <a:ln>
            <a:solidFill>
              <a:srgbClr val="0D426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en-US" sz="1000" dirty="0">
                <a:solidFill>
                  <a:prstClr val="white"/>
                </a:solidFill>
              </a:rPr>
              <a:t>"Kazakhstan Center of Industry and Export "</a:t>
            </a:r>
            <a:r>
              <a:rPr lang="en-US" sz="1000" dirty="0" err="1">
                <a:solidFill>
                  <a:prstClr val="white"/>
                </a:solidFill>
              </a:rPr>
              <a:t>QazIndustry</a:t>
            </a:r>
            <a:r>
              <a:rPr lang="en-US" sz="1000" dirty="0">
                <a:solidFill>
                  <a:prstClr val="white"/>
                </a:solidFill>
              </a:rPr>
              <a:t>“ JSC</a:t>
            </a:r>
            <a:endParaRPr lang="ru-RU" sz="1000" dirty="0">
              <a:solidFill>
                <a:prstClr val="white"/>
              </a:solidFill>
            </a:endParaRPr>
          </a:p>
          <a:p>
            <a:pPr lvl="0" algn="just">
              <a:defRPr/>
            </a:pPr>
            <a:r>
              <a:rPr lang="en-US" sz="1000" dirty="0" err="1">
                <a:solidFill>
                  <a:prstClr val="white"/>
                </a:solidFill>
              </a:rPr>
              <a:t>RoK</a:t>
            </a:r>
            <a:r>
              <a:rPr lang="ru-RU" sz="1000" dirty="0">
                <a:solidFill>
                  <a:prstClr val="white"/>
                </a:solidFill>
              </a:rPr>
              <a:t>, 010000  </a:t>
            </a:r>
            <a:r>
              <a:rPr lang="en-US" sz="1000" dirty="0" err="1">
                <a:solidFill>
                  <a:prstClr val="white"/>
                </a:solidFill>
              </a:rPr>
              <a:t>Nur</a:t>
            </a:r>
            <a:r>
              <a:rPr lang="ru-RU" sz="1000" dirty="0">
                <a:solidFill>
                  <a:prstClr val="white"/>
                </a:solidFill>
              </a:rPr>
              <a:t>-</a:t>
            </a:r>
            <a:r>
              <a:rPr lang="en-US" sz="1000" dirty="0">
                <a:solidFill>
                  <a:prstClr val="white"/>
                </a:solidFill>
              </a:rPr>
              <a:t>Sultan</a:t>
            </a:r>
            <a:r>
              <a:rPr lang="ru-RU" sz="1000" dirty="0">
                <a:solidFill>
                  <a:prstClr val="white"/>
                </a:solidFill>
              </a:rPr>
              <a:t>, </a:t>
            </a:r>
            <a:r>
              <a:rPr lang="en-US" sz="1000" dirty="0" err="1">
                <a:solidFill>
                  <a:prstClr val="white"/>
                </a:solidFill>
              </a:rPr>
              <a:t>Kabanbay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Batyr</a:t>
            </a:r>
            <a:r>
              <a:rPr lang="en-US" sz="1000" dirty="0">
                <a:solidFill>
                  <a:prstClr val="white"/>
                </a:solidFill>
              </a:rPr>
              <a:t> </a:t>
            </a:r>
            <a:r>
              <a:rPr lang="en-US" sz="1000" dirty="0" err="1">
                <a:solidFill>
                  <a:prstClr val="white"/>
                </a:solidFill>
              </a:rPr>
              <a:t>av</a:t>
            </a:r>
            <a:r>
              <a:rPr lang="ru-RU" sz="1000" dirty="0">
                <a:solidFill>
                  <a:prstClr val="white"/>
                </a:solidFill>
              </a:rPr>
              <a:t>, 17, </a:t>
            </a:r>
            <a:r>
              <a:rPr lang="en-US" sz="1000" dirty="0">
                <a:solidFill>
                  <a:prstClr val="white"/>
                </a:solidFill>
              </a:rPr>
              <a:t>phone</a:t>
            </a:r>
            <a:r>
              <a:rPr lang="ru-RU" sz="1000" dirty="0">
                <a:solidFill>
                  <a:prstClr val="white"/>
                </a:solidFill>
              </a:rPr>
              <a:t>: +7 (7172) 79 33 90 www.qazindustry.gov.kz</a:t>
            </a:r>
            <a:endParaRPr lang="ru-RU" sz="1000" dirty="0"/>
          </a:p>
        </p:txBody>
      </p:sp>
      <p:grpSp>
        <p:nvGrpSpPr>
          <p:cNvPr id="57" name="Группа 56">
            <a:extLst>
              <a:ext uri="{FF2B5EF4-FFF2-40B4-BE49-F238E27FC236}">
                <a16:creationId xmlns:a16="http://schemas.microsoft.com/office/drawing/2014/main" xmlns="" id="{5D74D543-85C3-46E0-8960-9A2180BD3528}"/>
              </a:ext>
            </a:extLst>
          </p:cNvPr>
          <p:cNvGrpSpPr/>
          <p:nvPr/>
        </p:nvGrpSpPr>
        <p:grpSpPr>
          <a:xfrm>
            <a:off x="2097836" y="3318807"/>
            <a:ext cx="2457926" cy="1898203"/>
            <a:chOff x="487799" y="2287899"/>
            <a:chExt cx="3309704" cy="2323782"/>
          </a:xfrm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grpSpPr>
        <p:sp>
          <p:nvSpPr>
            <p:cNvPr id="58" name="Halbbogen 101">
              <a:extLst>
                <a:ext uri="{FF2B5EF4-FFF2-40B4-BE49-F238E27FC236}">
                  <a16:creationId xmlns:a16="http://schemas.microsoft.com/office/drawing/2014/main" xmlns="" id="{5DA43406-419F-4E0D-A963-A67E976F48D2}"/>
                </a:ext>
              </a:extLst>
            </p:cNvPr>
            <p:cNvSpPr/>
            <p:nvPr/>
          </p:nvSpPr>
          <p:spPr bwMode="gray">
            <a:xfrm flipH="1">
              <a:off x="1516992" y="2366334"/>
              <a:ext cx="2280511" cy="2245347"/>
            </a:xfrm>
            <a:prstGeom prst="blockArc">
              <a:avLst>
                <a:gd name="adj1" fmla="val 6825471"/>
                <a:gd name="adj2" fmla="val 16356067"/>
                <a:gd name="adj3" fmla="val 14187"/>
              </a:avLst>
            </a:prstGeom>
            <a:solidFill>
              <a:schemeClr val="accent2">
                <a:lumMod val="75000"/>
              </a:schemeClr>
            </a:solidFill>
            <a:ln w="76200">
              <a:noFill/>
              <a:round/>
              <a:headEnd/>
              <a:tailEnd/>
            </a:ln>
            <a:effectLst>
              <a:innerShdw blurRad="38100" dist="12700" dir="13500000">
                <a:prstClr val="black">
                  <a:alpha val="50000"/>
                </a:prstClr>
              </a:innerShdw>
            </a:effectLst>
          </p:spPr>
          <p:txBody>
            <a:bodyPr rtlCol="0" anchor="ctr"/>
            <a:lstStyle>
              <a:defPPr>
                <a:defRPr lang="en-US"/>
              </a:defPPr>
              <a:lvl1pPr marL="0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91556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83113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74669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66226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457782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749339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040895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332452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lang="de-DE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9" name="Halbbogen 99">
              <a:extLst>
                <a:ext uri="{FF2B5EF4-FFF2-40B4-BE49-F238E27FC236}">
                  <a16:creationId xmlns:a16="http://schemas.microsoft.com/office/drawing/2014/main" xmlns="" id="{F24E6880-030E-4447-A562-66DE047119A5}"/>
                </a:ext>
              </a:extLst>
            </p:cNvPr>
            <p:cNvSpPr/>
            <p:nvPr/>
          </p:nvSpPr>
          <p:spPr bwMode="gray">
            <a:xfrm flipH="1">
              <a:off x="1633239" y="2655420"/>
              <a:ext cx="1909676" cy="1653372"/>
            </a:xfrm>
            <a:prstGeom prst="blockArc">
              <a:avLst>
                <a:gd name="adj1" fmla="val 3497388"/>
                <a:gd name="adj2" fmla="val 16077088"/>
                <a:gd name="adj3" fmla="val 15786"/>
              </a:avLst>
            </a:prstGeom>
            <a:solidFill>
              <a:schemeClr val="bg1">
                <a:lumMod val="50000"/>
              </a:schemeClr>
            </a:solidFill>
            <a:ln w="76200">
              <a:noFill/>
              <a:round/>
              <a:headEnd/>
              <a:tailEnd/>
            </a:ln>
            <a:effectLst>
              <a:innerShdw blurRad="38100" dist="12700" dir="13500000">
                <a:prstClr val="black">
                  <a:alpha val="50000"/>
                </a:prstClr>
              </a:innerShdw>
            </a:effectLst>
          </p:spPr>
          <p:txBody>
            <a:bodyPr rtlCol="0" anchor="ctr"/>
            <a:lstStyle>
              <a:defPPr>
                <a:defRPr lang="en-US"/>
              </a:defPPr>
              <a:lvl1pPr marL="0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91556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83113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74669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66226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457782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749339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040895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332452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lang="de-DE" dirty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60" name="Textfeld 633">
              <a:extLst>
                <a:ext uri="{FF2B5EF4-FFF2-40B4-BE49-F238E27FC236}">
                  <a16:creationId xmlns:a16="http://schemas.microsoft.com/office/drawing/2014/main" xmlns="" id="{1D26315B-B3F9-4719-B6C3-991902CAFDE9}"/>
                </a:ext>
              </a:extLst>
            </p:cNvPr>
            <p:cNvSpPr txBox="1"/>
            <p:nvPr/>
          </p:nvSpPr>
          <p:spPr bwMode="gray">
            <a:xfrm>
              <a:off x="1297308" y="3141826"/>
              <a:ext cx="1907629" cy="528481"/>
            </a:xfrm>
            <a:prstGeom prst="rect">
              <a:avLst/>
            </a:prstGeom>
            <a:noFill/>
          </p:spPr>
          <p:txBody>
            <a:bodyPr wrap="square" lIns="72000" tIns="0" rIns="0" bIns="0" rtlCol="0" anchor="t" anchorCtr="0">
              <a:noAutofit/>
            </a:bodyPr>
            <a:lstStyle>
              <a:defPPr>
                <a:defRPr lang="en-US"/>
              </a:defPPr>
              <a:lvl1pPr marL="0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91556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83113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74669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166226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457782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749339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040895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332452" algn="l" defTabSz="291556" rtl="0" eaLnBrk="1" latinLnBrk="0" hangingPunct="1"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90000"/>
                </a:lnSpc>
                <a:spcAft>
                  <a:spcPts val="383"/>
                </a:spcAft>
                <a:defRPr/>
              </a:pPr>
              <a:r>
                <a:rPr lang="en-US" sz="3200" b="1" dirty="0">
                  <a:solidFill>
                    <a:schemeClr val="accent1"/>
                  </a:solidFill>
                  <a:latin typeface="+mj-lt"/>
                  <a:cs typeface="Arial" panose="020B0604020202020204" pitchFamily="34" charset="0"/>
                </a:rPr>
                <a:t>$</a:t>
              </a:r>
              <a:r>
                <a:rPr lang="ru-RU" sz="3200" b="1" dirty="0">
                  <a:solidFill>
                    <a:schemeClr val="accent1"/>
                  </a:solidFill>
                  <a:latin typeface="+mj-lt"/>
                  <a:cs typeface="Arial" panose="020B0604020202020204" pitchFamily="34" charset="0"/>
                </a:rPr>
                <a:t>2,9 </a:t>
              </a:r>
            </a:p>
            <a:p>
              <a:pPr algn="ctr">
                <a:lnSpc>
                  <a:spcPct val="90000"/>
                </a:lnSpc>
                <a:spcAft>
                  <a:spcPts val="383"/>
                </a:spcAft>
                <a:defRPr/>
              </a:pPr>
              <a:r>
                <a:rPr lang="en-US" sz="1200" b="1" cap="all" dirty="0" err="1" smtClean="0">
                  <a:solidFill>
                    <a:schemeClr val="bg1">
                      <a:lumMod val="75000"/>
                    </a:schemeClr>
                  </a:solidFill>
                  <a:latin typeface="+mj-lt"/>
                  <a:ea typeface="+mj-ea"/>
                  <a:cs typeface="+mj-cs"/>
                </a:rPr>
                <a:t>bln</a:t>
              </a:r>
              <a:endParaRPr lang="de-DE" sz="1800" b="1" cap="all" dirty="0">
                <a:solidFill>
                  <a:schemeClr val="bg1">
                    <a:lumMod val="75000"/>
                  </a:schemeClr>
                </a:solidFill>
                <a:latin typeface="+mj-lt"/>
                <a:ea typeface="+mj-ea"/>
                <a:cs typeface="+mj-cs"/>
              </a:endParaRPr>
            </a:p>
          </p:txBody>
        </p:sp>
        <p:grpSp>
          <p:nvGrpSpPr>
            <p:cNvPr id="61" name="Gruppieren 98">
              <a:extLst>
                <a:ext uri="{FF2B5EF4-FFF2-40B4-BE49-F238E27FC236}">
                  <a16:creationId xmlns:a16="http://schemas.microsoft.com/office/drawing/2014/main" xmlns="" id="{87143035-C289-4E8D-BF7B-0FE8E8610A85}"/>
                </a:ext>
              </a:extLst>
            </p:cNvPr>
            <p:cNvGrpSpPr/>
            <p:nvPr/>
          </p:nvGrpSpPr>
          <p:grpSpPr bwMode="gray">
            <a:xfrm>
              <a:off x="487799" y="2287899"/>
              <a:ext cx="2132364" cy="679339"/>
              <a:chOff x="1190490" y="2012602"/>
              <a:chExt cx="1369266" cy="463405"/>
            </a:xfrm>
          </p:grpSpPr>
          <p:sp>
            <p:nvSpPr>
              <p:cNvPr id="62" name="Textfeld 103">
                <a:extLst>
                  <a:ext uri="{FF2B5EF4-FFF2-40B4-BE49-F238E27FC236}">
                    <a16:creationId xmlns:a16="http://schemas.microsoft.com/office/drawing/2014/main" xmlns="" id="{CA61E8EE-6452-4FA1-8471-47F3DF721487}"/>
                  </a:ext>
                </a:extLst>
              </p:cNvPr>
              <p:cNvSpPr txBox="1"/>
              <p:nvPr/>
            </p:nvSpPr>
            <p:spPr bwMode="gray">
              <a:xfrm>
                <a:off x="1190490" y="2218989"/>
                <a:ext cx="1353100" cy="25701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 anchor="ctr" anchorCtr="0">
                <a:spAutoFit/>
              </a:bodyPr>
              <a:lstStyle>
                <a:defPPr>
                  <a:defRPr lang="en-US"/>
                </a:defPPr>
                <a:lvl1pPr marL="0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291556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583113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874669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166226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457782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1749339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040895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332452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>
                  <a:defRPr/>
                </a:pPr>
                <a:r>
                  <a:rPr lang="en-US" sz="1050" b="1" dirty="0" smtClean="0">
                    <a:solidFill>
                      <a:schemeClr val="bg1">
                        <a:lumMod val="85000"/>
                      </a:schemeClr>
                    </a:solidFill>
                    <a:latin typeface="+mj-lt"/>
                    <a:cs typeface="Arial" panose="020B0604020202020204" pitchFamily="34" charset="0"/>
                  </a:rPr>
                  <a:t>EXP</a:t>
                </a:r>
                <a:r>
                  <a:rPr lang="ru-RU" sz="1050" b="1" dirty="0" smtClean="0">
                    <a:solidFill>
                      <a:schemeClr val="bg1">
                        <a:lumMod val="85000"/>
                      </a:schemeClr>
                    </a:solidFill>
                    <a:latin typeface="+mj-lt"/>
                    <a:cs typeface="Arial" panose="020B0604020202020204" pitchFamily="34" charset="0"/>
                  </a:rPr>
                  <a:t> </a:t>
                </a:r>
                <a:r>
                  <a:rPr lang="ru-RU" sz="1400" b="1" dirty="0">
                    <a:solidFill>
                      <a:schemeClr val="bg1">
                        <a:lumMod val="85000"/>
                      </a:schemeClr>
                    </a:solidFill>
                    <a:latin typeface="+mj-lt"/>
                    <a:cs typeface="Arial" panose="020B0604020202020204" pitchFamily="34" charset="0"/>
                  </a:rPr>
                  <a:t>60</a:t>
                </a:r>
                <a:r>
                  <a:rPr lang="de-DE" sz="1400" b="1" dirty="0">
                    <a:solidFill>
                      <a:schemeClr val="bg1">
                        <a:lumMod val="85000"/>
                      </a:schemeClr>
                    </a:solidFill>
                    <a:latin typeface="+mj-lt"/>
                    <a:cs typeface="Arial" panose="020B0604020202020204" pitchFamily="34" charset="0"/>
                  </a:rPr>
                  <a:t>%</a:t>
                </a:r>
                <a:endParaRPr lang="de-DE" sz="1050" b="1" dirty="0">
                  <a:solidFill>
                    <a:schemeClr val="bg1">
                      <a:lumMod val="85000"/>
                    </a:schemeClr>
                  </a:solidFill>
                  <a:latin typeface="+mj-lt"/>
                  <a:cs typeface="Arial" panose="020B0604020202020204" pitchFamily="34" charset="0"/>
                </a:endParaRPr>
              </a:p>
            </p:txBody>
          </p:sp>
          <p:sp>
            <p:nvSpPr>
              <p:cNvPr id="63" name="Textfeld 102">
                <a:extLst>
                  <a:ext uri="{FF2B5EF4-FFF2-40B4-BE49-F238E27FC236}">
                    <a16:creationId xmlns:a16="http://schemas.microsoft.com/office/drawing/2014/main" xmlns="" id="{0CC5AF80-0C46-4F14-9BAE-E31CB8173957}"/>
                  </a:ext>
                </a:extLst>
              </p:cNvPr>
              <p:cNvSpPr txBox="1"/>
              <p:nvPr/>
            </p:nvSpPr>
            <p:spPr bwMode="gray">
              <a:xfrm>
                <a:off x="1334801" y="2012602"/>
                <a:ext cx="1224955" cy="25701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 anchor="ctr" anchorCtr="0">
                <a:spAutoFit/>
              </a:bodyPr>
              <a:lstStyle>
                <a:defPPr>
                  <a:defRPr lang="en-US"/>
                </a:defPPr>
                <a:lvl1pPr marL="0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291556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583113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874669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166226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1457782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1749339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2040895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2332452" algn="l" defTabSz="291556" rtl="0" eaLnBrk="1" latinLnBrk="0" hangingPunct="1"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>
                  <a:defRPr/>
                </a:pPr>
                <a:r>
                  <a:rPr lang="en-US" sz="1050" b="1" dirty="0" smtClean="0">
                    <a:solidFill>
                      <a:schemeClr val="bg1">
                        <a:lumMod val="85000"/>
                      </a:schemeClr>
                    </a:solidFill>
                    <a:latin typeface="+mj-lt"/>
                    <a:cs typeface="Arial" panose="020B0604020202020204" pitchFamily="34" charset="0"/>
                  </a:rPr>
                  <a:t>Import</a:t>
                </a:r>
                <a:r>
                  <a:rPr lang="de-DE" sz="1050" b="1" dirty="0" smtClean="0">
                    <a:solidFill>
                      <a:schemeClr val="bg1">
                        <a:lumMod val="85000"/>
                      </a:schemeClr>
                    </a:solidFill>
                    <a:latin typeface="+mj-lt"/>
                    <a:cs typeface="Arial" panose="020B0604020202020204" pitchFamily="34" charset="0"/>
                  </a:rPr>
                  <a:t>  </a:t>
                </a:r>
                <a:r>
                  <a:rPr lang="ru-RU" sz="1400" b="1" dirty="0">
                    <a:solidFill>
                      <a:schemeClr val="bg1">
                        <a:lumMod val="85000"/>
                      </a:schemeClr>
                    </a:solidFill>
                    <a:latin typeface="+mj-lt"/>
                    <a:cs typeface="Arial" panose="020B0604020202020204" pitchFamily="34" charset="0"/>
                  </a:rPr>
                  <a:t>40</a:t>
                </a:r>
                <a:r>
                  <a:rPr lang="de-DE" sz="1400" b="1" dirty="0">
                    <a:solidFill>
                      <a:schemeClr val="bg1">
                        <a:lumMod val="85000"/>
                      </a:schemeClr>
                    </a:solidFill>
                    <a:latin typeface="+mj-lt"/>
                    <a:cs typeface="Arial" panose="020B0604020202020204" pitchFamily="34" charset="0"/>
                  </a:rPr>
                  <a:t>%</a:t>
                </a:r>
                <a:endParaRPr lang="de-DE" sz="1050" b="1" dirty="0">
                  <a:solidFill>
                    <a:schemeClr val="bg1">
                      <a:lumMod val="85000"/>
                    </a:schemeClr>
                  </a:solidFill>
                  <a:latin typeface="+mj-lt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64" name="Заголовок 1">
            <a:extLst>
              <a:ext uri="{FF2B5EF4-FFF2-40B4-BE49-F238E27FC236}">
                <a16:creationId xmlns:a16="http://schemas.microsoft.com/office/drawing/2014/main" xmlns="" id="{92D11628-858B-4B94-B151-9353759E8D3E}"/>
              </a:ext>
            </a:extLst>
          </p:cNvPr>
          <p:cNvSpPr txBox="1">
            <a:spLocks/>
          </p:cNvSpPr>
          <p:nvPr/>
        </p:nvSpPr>
        <p:spPr>
          <a:xfrm>
            <a:off x="3148718" y="4872360"/>
            <a:ext cx="1398654" cy="530188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4400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800" b="1" dirty="0" smtClean="0">
                <a:solidFill>
                  <a:schemeClr val="bg1">
                    <a:lumMod val="75000"/>
                  </a:schemeClr>
                </a:solidFill>
              </a:rPr>
              <a:t>MARKET</a:t>
            </a:r>
            <a:endParaRPr lang="ru-RU" sz="1800" b="1" dirty="0">
              <a:solidFill>
                <a:schemeClr val="bg1">
                  <a:lumMod val="75000"/>
                </a:schemeClr>
              </a:solidFill>
            </a:endParaRPr>
          </a:p>
        </p:txBody>
      </p:sp>
      <p:cxnSp>
        <p:nvCxnSpPr>
          <p:cNvPr id="65" name="Прямая соединительная линия 64">
            <a:extLst>
              <a:ext uri="{FF2B5EF4-FFF2-40B4-BE49-F238E27FC236}">
                <a16:creationId xmlns:a16="http://schemas.microsoft.com/office/drawing/2014/main" xmlns="" id="{F09B19C6-2A5C-4BA6-9A92-209F0E593805}"/>
              </a:ext>
            </a:extLst>
          </p:cNvPr>
          <p:cNvCxnSpPr>
            <a:cxnSpLocks/>
          </p:cNvCxnSpPr>
          <p:nvPr/>
        </p:nvCxnSpPr>
        <p:spPr>
          <a:xfrm flipH="1">
            <a:off x="2251310" y="3400612"/>
            <a:ext cx="5435" cy="1630515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Прямая соединительная линия 67">
            <a:extLst>
              <a:ext uri="{FF2B5EF4-FFF2-40B4-BE49-F238E27FC236}">
                <a16:creationId xmlns:a16="http://schemas.microsoft.com/office/drawing/2014/main" xmlns="" id="{A45622AF-0166-4CCB-9BB4-3AEAA4464E89}"/>
              </a:ext>
            </a:extLst>
          </p:cNvPr>
          <p:cNvCxnSpPr>
            <a:cxnSpLocks/>
          </p:cNvCxnSpPr>
          <p:nvPr/>
        </p:nvCxnSpPr>
        <p:spPr>
          <a:xfrm flipH="1">
            <a:off x="4673122" y="3376137"/>
            <a:ext cx="5435" cy="1630515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Прямоугольник 65">
            <a:extLst>
              <a:ext uri="{FF2B5EF4-FFF2-40B4-BE49-F238E27FC236}">
                <a16:creationId xmlns:a16="http://schemas.microsoft.com/office/drawing/2014/main" xmlns="" id="{F379B309-F190-455B-897F-1DAA77367879}"/>
              </a:ext>
            </a:extLst>
          </p:cNvPr>
          <p:cNvSpPr/>
          <p:nvPr/>
        </p:nvSpPr>
        <p:spPr>
          <a:xfrm>
            <a:off x="2305494" y="5416406"/>
            <a:ext cx="4462257" cy="34528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solidFill>
                  <a:schemeClr val="bg1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Market, export and import data for January-October 2021</a:t>
            </a:r>
            <a:endParaRPr lang="ru-RU" sz="1000" dirty="0">
              <a:solidFill>
                <a:schemeClr val="bg1">
                  <a:lumMod val="50000"/>
                </a:schemeClr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71" name="Freeform 36">
            <a:extLst>
              <a:ext uri="{FF2B5EF4-FFF2-40B4-BE49-F238E27FC236}">
                <a16:creationId xmlns:a16="http://schemas.microsoft.com/office/drawing/2014/main" xmlns="" id="{11BC22F4-B9D1-47F5-AAC5-373C568FB4D8}"/>
              </a:ext>
            </a:extLst>
          </p:cNvPr>
          <p:cNvSpPr>
            <a:spLocks/>
          </p:cNvSpPr>
          <p:nvPr/>
        </p:nvSpPr>
        <p:spPr bwMode="auto">
          <a:xfrm>
            <a:off x="5568909" y="1602033"/>
            <a:ext cx="539974" cy="313063"/>
          </a:xfrm>
          <a:custGeom>
            <a:avLst/>
            <a:gdLst>
              <a:gd name="T0" fmla="*/ 2147483646 w 256"/>
              <a:gd name="T1" fmla="*/ 2147483646 h 128"/>
              <a:gd name="T2" fmla="*/ 2147483646 w 256"/>
              <a:gd name="T3" fmla="*/ 2147483646 h 128"/>
              <a:gd name="T4" fmla="*/ 2147483646 w 256"/>
              <a:gd name="T5" fmla="*/ 2147483646 h 128"/>
              <a:gd name="T6" fmla="*/ 2147483646 w 256"/>
              <a:gd name="T7" fmla="*/ 2147483646 h 128"/>
              <a:gd name="T8" fmla="*/ 2147483646 w 256"/>
              <a:gd name="T9" fmla="*/ 2147483646 h 128"/>
              <a:gd name="T10" fmla="*/ 2147483646 w 256"/>
              <a:gd name="T11" fmla="*/ 2147483646 h 128"/>
              <a:gd name="T12" fmla="*/ 2147483646 w 256"/>
              <a:gd name="T13" fmla="*/ 2147483646 h 128"/>
              <a:gd name="T14" fmla="*/ 2147483646 w 256"/>
              <a:gd name="T15" fmla="*/ 2147483646 h 128"/>
              <a:gd name="T16" fmla="*/ 2147483646 w 256"/>
              <a:gd name="T17" fmla="*/ 2147483646 h 128"/>
              <a:gd name="T18" fmla="*/ 2147483646 w 256"/>
              <a:gd name="T19" fmla="*/ 2147483646 h 128"/>
              <a:gd name="T20" fmla="*/ 0 w 256"/>
              <a:gd name="T21" fmla="*/ 2147483646 h 128"/>
              <a:gd name="T22" fmla="*/ 2147483646 w 256"/>
              <a:gd name="T23" fmla="*/ 2147483646 h 128"/>
              <a:gd name="T24" fmla="*/ 2147483646 w 256"/>
              <a:gd name="T25" fmla="*/ 2147483646 h 128"/>
              <a:gd name="T26" fmla="*/ 2147483646 w 256"/>
              <a:gd name="T27" fmla="*/ 2147483646 h 128"/>
              <a:gd name="T28" fmla="*/ 2147483646 w 256"/>
              <a:gd name="T29" fmla="*/ 2147483646 h 128"/>
              <a:gd name="T30" fmla="*/ 2147483646 w 256"/>
              <a:gd name="T31" fmla="*/ 2147483646 h 128"/>
              <a:gd name="T32" fmla="*/ 2147483646 w 256"/>
              <a:gd name="T33" fmla="*/ 2147483646 h 128"/>
              <a:gd name="T34" fmla="*/ 2147483646 w 256"/>
              <a:gd name="T35" fmla="*/ 2147483646 h 128"/>
              <a:gd name="T36" fmla="*/ 2147483646 w 256"/>
              <a:gd name="T37" fmla="*/ 2147483646 h 128"/>
              <a:gd name="T38" fmla="*/ 2147483646 w 256"/>
              <a:gd name="T39" fmla="*/ 2147483646 h 128"/>
              <a:gd name="T40" fmla="*/ 2147483646 w 256"/>
              <a:gd name="T41" fmla="*/ 2147483646 h 128"/>
              <a:gd name="T42" fmla="*/ 2147483646 w 256"/>
              <a:gd name="T43" fmla="*/ 2147483646 h 128"/>
              <a:gd name="T44" fmla="*/ 2147483646 w 256"/>
              <a:gd name="T45" fmla="*/ 0 h 128"/>
              <a:gd name="T46" fmla="*/ 2147483646 w 256"/>
              <a:gd name="T47" fmla="*/ 0 h 128"/>
              <a:gd name="T48" fmla="*/ 2147483646 w 256"/>
              <a:gd name="T49" fmla="*/ 2147483646 h 128"/>
              <a:gd name="T50" fmla="*/ 2147483646 w 256"/>
              <a:gd name="T51" fmla="*/ 2147483646 h 128"/>
              <a:gd name="T52" fmla="*/ 2147483646 w 256"/>
              <a:gd name="T53" fmla="*/ 2147483646 h 128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0" t="0" r="r" b="b"/>
            <a:pathLst>
              <a:path w="256" h="128">
                <a:moveTo>
                  <a:pt x="244" y="72"/>
                </a:moveTo>
                <a:cubicBezTo>
                  <a:pt x="237" y="72"/>
                  <a:pt x="232" y="67"/>
                  <a:pt x="232" y="60"/>
                </a:cubicBezTo>
                <a:cubicBezTo>
                  <a:pt x="232" y="41"/>
                  <a:pt x="232" y="41"/>
                  <a:pt x="232" y="41"/>
                </a:cubicBezTo>
                <a:cubicBezTo>
                  <a:pt x="172" y="101"/>
                  <a:pt x="172" y="101"/>
                  <a:pt x="172" y="101"/>
                </a:cubicBezTo>
                <a:cubicBezTo>
                  <a:pt x="148" y="124"/>
                  <a:pt x="148" y="124"/>
                  <a:pt x="148" y="124"/>
                </a:cubicBezTo>
                <a:cubicBezTo>
                  <a:pt x="146" y="127"/>
                  <a:pt x="143" y="128"/>
                  <a:pt x="140" y="128"/>
                </a:cubicBezTo>
                <a:cubicBezTo>
                  <a:pt x="137" y="128"/>
                  <a:pt x="134" y="127"/>
                  <a:pt x="132" y="124"/>
                </a:cubicBezTo>
                <a:cubicBezTo>
                  <a:pt x="76" y="69"/>
                  <a:pt x="76" y="69"/>
                  <a:pt x="76" y="69"/>
                </a:cubicBezTo>
                <a:cubicBezTo>
                  <a:pt x="20" y="124"/>
                  <a:pt x="20" y="124"/>
                  <a:pt x="20" y="124"/>
                </a:cubicBezTo>
                <a:cubicBezTo>
                  <a:pt x="18" y="127"/>
                  <a:pt x="15" y="128"/>
                  <a:pt x="12" y="128"/>
                </a:cubicBezTo>
                <a:cubicBezTo>
                  <a:pt x="5" y="128"/>
                  <a:pt x="0" y="123"/>
                  <a:pt x="0" y="116"/>
                </a:cubicBezTo>
                <a:cubicBezTo>
                  <a:pt x="0" y="113"/>
                  <a:pt x="1" y="110"/>
                  <a:pt x="4" y="108"/>
                </a:cubicBezTo>
                <a:cubicBezTo>
                  <a:pt x="68" y="44"/>
                  <a:pt x="68" y="44"/>
                  <a:pt x="68" y="44"/>
                </a:cubicBezTo>
                <a:cubicBezTo>
                  <a:pt x="70" y="41"/>
                  <a:pt x="73" y="40"/>
                  <a:pt x="76" y="40"/>
                </a:cubicBezTo>
                <a:cubicBezTo>
                  <a:pt x="79" y="40"/>
                  <a:pt x="82" y="41"/>
                  <a:pt x="84" y="44"/>
                </a:cubicBezTo>
                <a:cubicBezTo>
                  <a:pt x="140" y="99"/>
                  <a:pt x="140" y="99"/>
                  <a:pt x="140" y="99"/>
                </a:cubicBezTo>
                <a:cubicBezTo>
                  <a:pt x="155" y="84"/>
                  <a:pt x="155" y="84"/>
                  <a:pt x="155" y="84"/>
                </a:cubicBezTo>
                <a:cubicBezTo>
                  <a:pt x="157" y="82"/>
                  <a:pt x="157" y="82"/>
                  <a:pt x="157" y="82"/>
                </a:cubicBezTo>
                <a:cubicBezTo>
                  <a:pt x="164" y="76"/>
                  <a:pt x="164" y="76"/>
                  <a:pt x="164" y="76"/>
                </a:cubicBezTo>
                <a:cubicBezTo>
                  <a:pt x="215" y="24"/>
                  <a:pt x="215" y="24"/>
                  <a:pt x="215" y="24"/>
                </a:cubicBezTo>
                <a:cubicBezTo>
                  <a:pt x="196" y="24"/>
                  <a:pt x="196" y="24"/>
                  <a:pt x="196" y="24"/>
                </a:cubicBezTo>
                <a:cubicBezTo>
                  <a:pt x="189" y="24"/>
                  <a:pt x="184" y="19"/>
                  <a:pt x="184" y="12"/>
                </a:cubicBezTo>
                <a:cubicBezTo>
                  <a:pt x="184" y="5"/>
                  <a:pt x="189" y="0"/>
                  <a:pt x="196" y="0"/>
                </a:cubicBezTo>
                <a:cubicBezTo>
                  <a:pt x="244" y="0"/>
                  <a:pt x="244" y="0"/>
                  <a:pt x="244" y="0"/>
                </a:cubicBezTo>
                <a:cubicBezTo>
                  <a:pt x="251" y="0"/>
                  <a:pt x="256" y="5"/>
                  <a:pt x="256" y="12"/>
                </a:cubicBezTo>
                <a:cubicBezTo>
                  <a:pt x="256" y="60"/>
                  <a:pt x="256" y="60"/>
                  <a:pt x="256" y="60"/>
                </a:cubicBezTo>
                <a:cubicBezTo>
                  <a:pt x="256" y="67"/>
                  <a:pt x="251" y="72"/>
                  <a:pt x="244" y="72"/>
                </a:cubicBezTo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/>
          <a:lstStyle/>
          <a:p>
            <a:endParaRPr lang="ru-RU"/>
          </a:p>
        </p:txBody>
      </p:sp>
      <p:sp>
        <p:nvSpPr>
          <p:cNvPr id="70" name="Заголовок 1">
            <a:extLst>
              <a:ext uri="{FF2B5EF4-FFF2-40B4-BE49-F238E27FC236}">
                <a16:creationId xmlns:a16="http://schemas.microsoft.com/office/drawing/2014/main" xmlns="" id="{D49F1443-D799-436D-AE2F-F0960042AA83}"/>
              </a:ext>
            </a:extLst>
          </p:cNvPr>
          <p:cNvSpPr txBox="1">
            <a:spLocks/>
          </p:cNvSpPr>
          <p:nvPr/>
        </p:nvSpPr>
        <p:spPr>
          <a:xfrm>
            <a:off x="1124744" y="494483"/>
            <a:ext cx="5064361" cy="981173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l" rtl="0" eaLnBrk="1" latinLnBrk="0" hangingPunct="1">
              <a:spcBef>
                <a:spcPct val="0"/>
              </a:spcBef>
              <a:buNone/>
              <a:defRPr kumimoji="0" sz="4400" kern="1200" cap="all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de-DE" sz="2300" b="1" dirty="0" err="1">
                <a:solidFill>
                  <a:schemeClr val="bg1"/>
                </a:solidFill>
              </a:rPr>
              <a:t>Production</a:t>
            </a:r>
            <a:r>
              <a:rPr lang="de-DE" sz="2300" b="1" dirty="0">
                <a:solidFill>
                  <a:schemeClr val="bg1"/>
                </a:solidFill>
              </a:rPr>
              <a:t> </a:t>
            </a:r>
            <a:r>
              <a:rPr lang="de-DE" sz="2300" b="1" dirty="0" err="1">
                <a:solidFill>
                  <a:schemeClr val="bg1"/>
                </a:solidFill>
              </a:rPr>
              <a:t>of</a:t>
            </a:r>
            <a:r>
              <a:rPr lang="de-DE" sz="2300" b="1" dirty="0">
                <a:solidFill>
                  <a:schemeClr val="bg1"/>
                </a:solidFill>
              </a:rPr>
              <a:t> </a:t>
            </a:r>
            <a:r>
              <a:rPr lang="de-DE" sz="2300" b="1" dirty="0" err="1">
                <a:solidFill>
                  <a:schemeClr val="bg1"/>
                </a:solidFill>
              </a:rPr>
              <a:t>building</a:t>
            </a:r>
            <a:r>
              <a:rPr lang="de-DE" sz="2300" b="1" dirty="0">
                <a:solidFill>
                  <a:schemeClr val="bg1"/>
                </a:solidFill>
              </a:rPr>
              <a:t> </a:t>
            </a:r>
            <a:r>
              <a:rPr lang="de-DE" sz="2300" b="1" dirty="0" err="1" smtClean="0">
                <a:solidFill>
                  <a:schemeClr val="bg1"/>
                </a:solidFill>
              </a:rPr>
              <a:t>materials</a:t>
            </a:r>
            <a:r>
              <a:rPr lang="ru-RU" sz="2300" b="1" dirty="0" smtClean="0">
                <a:solidFill>
                  <a:schemeClr val="bg1"/>
                </a:solidFill>
              </a:rPr>
              <a:t>  </a:t>
            </a:r>
            <a:endParaRPr lang="ru-RU" sz="2300" b="1" dirty="0">
              <a:solidFill>
                <a:schemeClr val="bg1"/>
              </a:solidFill>
            </a:endParaRPr>
          </a:p>
          <a:p>
            <a:pPr algn="ctr"/>
            <a:r>
              <a:rPr lang="en-US" sz="1600" b="1" cap="none" dirty="0" smtClean="0">
                <a:solidFill>
                  <a:schemeClr val="bg1"/>
                </a:solidFill>
              </a:rPr>
              <a:t>January</a:t>
            </a:r>
            <a:r>
              <a:rPr lang="ru-RU" sz="1600" b="1" cap="none" dirty="0" smtClean="0">
                <a:solidFill>
                  <a:schemeClr val="bg1"/>
                </a:solidFill>
              </a:rPr>
              <a:t>-</a:t>
            </a:r>
            <a:r>
              <a:rPr lang="en-US" sz="1600" b="1" cap="none" dirty="0" smtClean="0">
                <a:solidFill>
                  <a:schemeClr val="bg1"/>
                </a:solidFill>
              </a:rPr>
              <a:t>November </a:t>
            </a:r>
            <a:r>
              <a:rPr lang="ru-RU" sz="1600" b="1" cap="none" dirty="0" smtClean="0">
                <a:solidFill>
                  <a:schemeClr val="bg1"/>
                </a:solidFill>
              </a:rPr>
              <a:t>2021</a:t>
            </a:r>
            <a:endParaRPr lang="ru-RU" sz="1600" b="1" dirty="0">
              <a:solidFill>
                <a:schemeClr val="bg1"/>
              </a:solidFill>
            </a:endParaRPr>
          </a:p>
        </p:txBody>
      </p:sp>
      <p:grpSp>
        <p:nvGrpSpPr>
          <p:cNvPr id="9" name="Группа 8"/>
          <p:cNvGrpSpPr/>
          <p:nvPr/>
        </p:nvGrpSpPr>
        <p:grpSpPr>
          <a:xfrm>
            <a:off x="5039810" y="3886461"/>
            <a:ext cx="1381294" cy="1065493"/>
            <a:chOff x="5063604" y="4083674"/>
            <a:chExt cx="1381294" cy="1065493"/>
          </a:xfrm>
        </p:grpSpPr>
        <p:grpSp>
          <p:nvGrpSpPr>
            <p:cNvPr id="6" name="Группа 5">
              <a:extLst>
                <a:ext uri="{FF2B5EF4-FFF2-40B4-BE49-F238E27FC236}">
                  <a16:creationId xmlns:a16="http://schemas.microsoft.com/office/drawing/2014/main" xmlns="" id="{0A21DCB1-23DA-4DAD-88B2-58748FBECE74}"/>
                </a:ext>
              </a:extLst>
            </p:cNvPr>
            <p:cNvGrpSpPr/>
            <p:nvPr/>
          </p:nvGrpSpPr>
          <p:grpSpPr>
            <a:xfrm>
              <a:off x="5458334" y="4083674"/>
              <a:ext cx="986564" cy="573738"/>
              <a:chOff x="5428718" y="3695582"/>
              <a:chExt cx="947201" cy="573738"/>
            </a:xfrm>
          </p:grpSpPr>
          <p:pic>
            <p:nvPicPr>
              <p:cNvPr id="158" name="Picture 32" descr="Картинки по запросу &quot;россия  флаг круглый без фона&quot;"/>
              <p:cNvPicPr>
                <a:picLocks noChangeAspect="1" noChangeArrowheads="1"/>
              </p:cNvPicPr>
              <p:nvPr/>
            </p:nvPicPr>
            <p:blipFill rotWithShape="1">
              <a:blip r:embed="rId21" cstate="print">
                <a:extLst>
                  <a:ext uri="{BEBA8EAE-BF5A-486C-A8C5-ECC9F3942E4B}">
                    <a14:imgProps xmlns:a14="http://schemas.microsoft.com/office/drawing/2010/main">
                      <a14:imgLayer r:embed="rId22">
                        <a14:imgEffect>
                          <a14:backgroundRemoval t="12535" b="90282" l="9842" r="88574"/>
                        </a14:imgEffect>
                        <a14:imgEffect>
                          <a14:saturation sat="66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-1584" t="2817" r="1584" b="-2817"/>
              <a:stretch/>
            </p:blipFill>
            <p:spPr bwMode="auto">
              <a:xfrm>
                <a:off x="5428718" y="3695582"/>
                <a:ext cx="510028" cy="51002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59" name="Рисунок 158"/>
              <p:cNvPicPr>
                <a:picLocks noChangeAspect="1"/>
              </p:cNvPicPr>
              <p:nvPr/>
            </p:nvPicPr>
            <p:blipFill>
              <a:blip r:embed="rId23">
                <a:extLst>
                  <a:ext uri="{BEBA8EAE-BF5A-486C-A8C5-ECC9F3942E4B}">
                    <a14:imgProps xmlns:a14="http://schemas.microsoft.com/office/drawing/2010/main">
                      <a14:imgLayer r:embed="rId24">
                        <a14:imgEffect>
                          <a14:backgroundRemoval t="10000" b="90000" l="10000" r="90000"/>
                        </a14:imgEffect>
                        <a14:imgEffect>
                          <a14:saturation sat="66000"/>
                        </a14:imgEffect>
                      </a14:imgLayer>
                    </a14:imgProps>
                  </a:ext>
                </a:extLst>
              </a:blip>
              <a:stretch>
                <a:fillRect/>
              </a:stretch>
            </p:blipFill>
            <p:spPr>
              <a:xfrm>
                <a:off x="5866645" y="3853347"/>
                <a:ext cx="509274" cy="415973"/>
              </a:xfrm>
              <a:prstGeom prst="rect">
                <a:avLst/>
              </a:prstGeom>
            </p:spPr>
          </p:pic>
        </p:grpSp>
        <p:pic>
          <p:nvPicPr>
            <p:cNvPr id="56" name="Picture 2" descr="Картинки по запросу &quot;пьедестал 1-3 место белый фон png&quot;">
              <a:extLst>
                <a:ext uri="{FF2B5EF4-FFF2-40B4-BE49-F238E27FC236}">
                  <a16:creationId xmlns:a16="http://schemas.microsoft.com/office/drawing/2014/main" xmlns="" id="{2EA6AF33-BC09-4EBF-91B9-20B760E3C827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5">
              <a:extLst>
                <a:ext uri="{BEBA8EAE-BF5A-486C-A8C5-ECC9F3942E4B}">
                  <a14:imgProps xmlns:a14="http://schemas.microsoft.com/office/drawing/2010/main">
                    <a14:imgLayer r:embed="rId26">
                      <a14:imgEffect>
                        <a14:backgroundRemoval t="46757" b="94084" l="10000" r="90000"/>
                      </a14:imgEffect>
                      <a14:imgEffect>
                        <a14:brightnessContrast bright="-20000"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3161" t="40841" r="-144"/>
            <a:stretch/>
          </p:blipFill>
          <p:spPr bwMode="auto">
            <a:xfrm>
              <a:off x="5063604" y="4513090"/>
              <a:ext cx="1372927" cy="63607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8" name="Группа 7"/>
          <p:cNvGrpSpPr/>
          <p:nvPr/>
        </p:nvGrpSpPr>
        <p:grpSpPr>
          <a:xfrm>
            <a:off x="550227" y="3875509"/>
            <a:ext cx="1518652" cy="1053117"/>
            <a:chOff x="471612" y="4095786"/>
            <a:chExt cx="1518652" cy="1053117"/>
          </a:xfrm>
        </p:grpSpPr>
        <p:pic>
          <p:nvPicPr>
            <p:cNvPr id="92" name="Picture 8" descr="Лоснистое флага Узбекистана круглое Иллюстрация вектора - иллюстрации  насчитывающей флага, лоснистое: 150320446">
              <a:extLst>
                <a:ext uri="{FF2B5EF4-FFF2-40B4-BE49-F238E27FC236}">
                  <a16:creationId xmlns:a16="http://schemas.microsoft.com/office/drawing/2014/main" xmlns="" id="{7D809F8B-34AF-4577-A908-778B3A36488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7" cstate="print">
              <a:extLst>
                <a:ext uri="{BEBA8EAE-BF5A-486C-A8C5-ECC9F3942E4B}">
                  <a14:imgProps xmlns:a14="http://schemas.microsoft.com/office/drawing/2010/main">
                    <a14:imgLayer r:embed="rId28">
                      <a14:imgEffect>
                        <a14:backgroundRemoval t="10000" b="90000" l="10000" r="9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36167" y="4095786"/>
              <a:ext cx="754097" cy="75409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2" name="Группа 1"/>
            <p:cNvGrpSpPr/>
            <p:nvPr/>
          </p:nvGrpSpPr>
          <p:grpSpPr>
            <a:xfrm>
              <a:off x="471612" y="4118883"/>
              <a:ext cx="1372927" cy="1030020"/>
              <a:chOff x="469785" y="4154610"/>
              <a:chExt cx="1372927" cy="1030020"/>
            </a:xfrm>
          </p:grpSpPr>
          <p:grpSp>
            <p:nvGrpSpPr>
              <p:cNvPr id="7" name="Группа 6">
                <a:extLst>
                  <a:ext uri="{FF2B5EF4-FFF2-40B4-BE49-F238E27FC236}">
                    <a16:creationId xmlns:a16="http://schemas.microsoft.com/office/drawing/2014/main" xmlns="" id="{3BDBF2B2-24FD-4AC2-9197-448995F74F5A}"/>
                  </a:ext>
                </a:extLst>
              </p:cNvPr>
              <p:cNvGrpSpPr/>
              <p:nvPr/>
            </p:nvGrpSpPr>
            <p:grpSpPr>
              <a:xfrm>
                <a:off x="469785" y="4154610"/>
                <a:ext cx="1372927" cy="1030020"/>
                <a:chOff x="485613" y="3799531"/>
                <a:chExt cx="1372927" cy="1030020"/>
              </a:xfrm>
            </p:grpSpPr>
            <p:pic>
              <p:nvPicPr>
                <p:cNvPr id="1056" name="Picture 32" descr="Картинки по запросу &quot;россия  флаг круглый без фона&quot;"/>
                <p:cNvPicPr>
                  <a:picLocks noChangeAspect="1" noChangeArrowheads="1"/>
                </p:cNvPicPr>
                <p:nvPr/>
              </p:nvPicPr>
              <p:blipFill rotWithShape="1">
                <a:blip r:embed="rId29" cstate="print">
                  <a:extLst>
                    <a:ext uri="{BEBA8EAE-BF5A-486C-A8C5-ECC9F3942E4B}">
                      <a14:imgProps xmlns:a14="http://schemas.microsoft.com/office/drawing/2010/main">
                        <a14:imgLayer r:embed="rId30">
                          <a14:imgEffect>
                            <a14:backgroundRemoval t="12535" b="90282" l="9842" r="88574"/>
                          </a14:imgEffect>
                          <a14:imgEffect>
                            <a14:saturation sat="66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-1584" t="2817" r="1584" b="-2817"/>
                <a:stretch/>
              </p:blipFill>
              <p:spPr bwMode="auto">
                <a:xfrm>
                  <a:off x="954443" y="3799531"/>
                  <a:ext cx="466362" cy="46636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1026" name="Picture 2" descr="Картинки по запросу &quot;пьедестал 1-3 место белый фон png&quot;">
                  <a:extLst>
                    <a:ext uri="{FF2B5EF4-FFF2-40B4-BE49-F238E27FC236}">
                      <a16:creationId xmlns:a16="http://schemas.microsoft.com/office/drawing/2014/main" xmlns="" id="{F2771AAD-7491-463C-90E1-BF57595812DD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 rotWithShape="1">
                <a:blip r:embed="rId25">
                  <a:extLst>
                    <a:ext uri="{BEBA8EAE-BF5A-486C-A8C5-ECC9F3942E4B}">
                      <a14:imgProps xmlns:a14="http://schemas.microsoft.com/office/drawing/2010/main">
                        <a14:imgLayer r:embed="rId26">
                          <a14:imgEffect>
                            <a14:backgroundRemoval t="46757" b="94084" l="10000" r="90000"/>
                          </a14:imgEffect>
                          <a14:imgEffect>
                            <a14:brightnessContrast bright="-20000" contrast="4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-3161" t="40841" r="-144"/>
                <a:stretch/>
              </p:blipFill>
              <p:spPr bwMode="auto">
                <a:xfrm>
                  <a:off x="485613" y="4193474"/>
                  <a:ext cx="1372927" cy="636077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  <p:pic>
            <p:nvPicPr>
              <p:cNvPr id="93" name="Picture 6" descr="флаг Кыргызстана скачать бесплатно - Общие папского Григорианского  Улучшенный университета общества Иисуса Игнатия духовность иезуитов - Флаг  Кыргызстана">
                <a:extLst>
                  <a:ext uri="{FF2B5EF4-FFF2-40B4-BE49-F238E27FC236}">
                    <a16:creationId xmlns:a16="http://schemas.microsoft.com/office/drawing/2014/main" xmlns="" id="{335130FC-3240-4382-9DF9-84685E2A23F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1" cstate="print">
                <a:extLst>
                  <a:ext uri="{BEBA8EAE-BF5A-486C-A8C5-ECC9F3942E4B}">
                    <a14:imgProps xmlns:a14="http://schemas.microsoft.com/office/drawing/2010/main">
                      <a14:imgLayer r:embed="rId32">
                        <a14:imgEffect>
                          <a14:backgroundRemoval t="8000" b="92000" l="10000" r="90000">
                            <a14:foregroundMark x1="43077" y1="9000" x2="54231" y2="8000"/>
                            <a14:foregroundMark x1="54231" y1="8000" x2="57308" y2="9000"/>
                            <a14:foregroundMark x1="45385" y1="92000" x2="56538" y2="91500"/>
                          </a14:backgroundRemoval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28100" y="4344813"/>
                <a:ext cx="491803" cy="37831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grpSp>
        <p:nvGrpSpPr>
          <p:cNvPr id="90" name="Группа 89">
            <a:extLst>
              <a:ext uri="{FF2B5EF4-FFF2-40B4-BE49-F238E27FC236}">
                <a16:creationId xmlns:a16="http://schemas.microsoft.com/office/drawing/2014/main" xmlns="" id="{1B9D3E48-6150-40C1-80F5-BA9791762389}"/>
              </a:ext>
            </a:extLst>
          </p:cNvPr>
          <p:cNvGrpSpPr/>
          <p:nvPr/>
        </p:nvGrpSpPr>
        <p:grpSpPr>
          <a:xfrm>
            <a:off x="687822" y="6094818"/>
            <a:ext cx="5470163" cy="2604926"/>
            <a:chOff x="758075" y="6297384"/>
            <a:chExt cx="5562326" cy="3018519"/>
          </a:xfrm>
        </p:grpSpPr>
        <p:grpSp>
          <p:nvGrpSpPr>
            <p:cNvPr id="91" name="Группа 90"/>
            <p:cNvGrpSpPr/>
            <p:nvPr/>
          </p:nvGrpSpPr>
          <p:grpSpPr>
            <a:xfrm>
              <a:off x="758075" y="6297384"/>
              <a:ext cx="5562326" cy="3018519"/>
              <a:chOff x="684188" y="6183884"/>
              <a:chExt cx="5548312" cy="3160710"/>
            </a:xfrm>
          </p:grpSpPr>
          <p:grpSp>
            <p:nvGrpSpPr>
              <p:cNvPr id="96" name="Группа 191"/>
              <p:cNvGrpSpPr>
                <a:grpSpLocks/>
              </p:cNvGrpSpPr>
              <p:nvPr/>
            </p:nvGrpSpPr>
            <p:grpSpPr bwMode="auto">
              <a:xfrm>
                <a:off x="684188" y="6183884"/>
                <a:ext cx="5548312" cy="3160710"/>
                <a:chOff x="-2668021" y="5863897"/>
                <a:chExt cx="5795782" cy="3555145"/>
              </a:xfrm>
            </p:grpSpPr>
            <p:grpSp>
              <p:nvGrpSpPr>
                <p:cNvPr id="98" name="Группа 192"/>
                <p:cNvGrpSpPr>
                  <a:grpSpLocks/>
                </p:cNvGrpSpPr>
                <p:nvPr/>
              </p:nvGrpSpPr>
              <p:grpSpPr bwMode="auto">
                <a:xfrm>
                  <a:off x="-2668021" y="5863897"/>
                  <a:ext cx="5795782" cy="3555145"/>
                  <a:chOff x="-2668021" y="5863897"/>
                  <a:chExt cx="5795782" cy="3555145"/>
                </a:xfrm>
              </p:grpSpPr>
              <p:grpSp>
                <p:nvGrpSpPr>
                  <p:cNvPr id="102" name="Группа 195"/>
                  <p:cNvGrpSpPr>
                    <a:grpSpLocks/>
                  </p:cNvGrpSpPr>
                  <p:nvPr/>
                </p:nvGrpSpPr>
                <p:grpSpPr bwMode="auto">
                  <a:xfrm>
                    <a:off x="-2668021" y="5863897"/>
                    <a:ext cx="5795782" cy="3555145"/>
                    <a:chOff x="-2668021" y="5863897"/>
                    <a:chExt cx="5795782" cy="3555145"/>
                  </a:xfrm>
                </p:grpSpPr>
                <p:grpSp>
                  <p:nvGrpSpPr>
                    <p:cNvPr id="107" name="Группа 200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-2668021" y="5863897"/>
                      <a:ext cx="5795782" cy="3555145"/>
                      <a:chOff x="-2668021" y="5863897"/>
                      <a:chExt cx="5795782" cy="3555145"/>
                    </a:xfrm>
                  </p:grpSpPr>
                  <p:grpSp>
                    <p:nvGrpSpPr>
                      <p:cNvPr id="111" name="Группа 204"/>
                      <p:cNvGrpSpPr>
                        <a:grpSpLocks/>
                      </p:cNvGrpSpPr>
                      <p:nvPr/>
                    </p:nvGrpSpPr>
                    <p:grpSpPr bwMode="auto">
                      <a:xfrm>
                        <a:off x="-2668021" y="5863897"/>
                        <a:ext cx="5795782" cy="3555145"/>
                        <a:chOff x="350985" y="4036294"/>
                        <a:chExt cx="4089243" cy="2484581"/>
                      </a:xfrm>
                    </p:grpSpPr>
                    <p:grpSp>
                      <p:nvGrpSpPr>
                        <p:cNvPr id="119" name="Группа 208"/>
                        <p:cNvGrpSpPr>
                          <a:grpSpLocks/>
                        </p:cNvGrpSpPr>
                        <p:nvPr/>
                      </p:nvGrpSpPr>
                      <p:grpSpPr bwMode="auto">
                        <a:xfrm>
                          <a:off x="350985" y="4036294"/>
                          <a:ext cx="4089243" cy="2484581"/>
                          <a:chOff x="415637" y="4257958"/>
                          <a:chExt cx="3619537" cy="2452255"/>
                        </a:xfrm>
                      </p:grpSpPr>
                      <p:grpSp>
                        <p:nvGrpSpPr>
                          <p:cNvPr id="127" name="Group 25"/>
                          <p:cNvGrpSpPr>
                            <a:grpSpLocks/>
                          </p:cNvGrpSpPr>
                          <p:nvPr/>
                        </p:nvGrpSpPr>
                        <p:grpSpPr bwMode="auto">
                          <a:xfrm>
                            <a:off x="415637" y="4257958"/>
                            <a:ext cx="3619537" cy="2452255"/>
                            <a:chOff x="323522" y="1341312"/>
                            <a:chExt cx="8064059" cy="4896000"/>
                          </a:xfrm>
                        </p:grpSpPr>
                        <p:sp>
                          <p:nvSpPr>
                            <p:cNvPr id="131" name="Freeform 43"/>
                            <p:cNvSpPr>
                              <a:spLocks/>
                            </p:cNvSpPr>
                            <p:nvPr/>
                          </p:nvSpPr>
                          <p:spPr bwMode="auto">
                            <a:xfrm>
                              <a:off x="4908154" y="4439735"/>
                              <a:ext cx="1389003" cy="1229533"/>
                            </a:xfrm>
                            <a:custGeom>
                              <a:avLst/>
                              <a:gdLst/>
                              <a:ahLst/>
                              <a:cxnLst>
                                <a:cxn ang="0">
                                  <a:pos x="6" y="56"/>
                                </a:cxn>
                                <a:cxn ang="0">
                                  <a:pos x="22" y="84"/>
                                </a:cxn>
                                <a:cxn ang="0">
                                  <a:pos x="34" y="123"/>
                                </a:cxn>
                                <a:cxn ang="0">
                                  <a:pos x="56" y="162"/>
                                </a:cxn>
                                <a:cxn ang="0">
                                  <a:pos x="73" y="224"/>
                                </a:cxn>
                                <a:cxn ang="0">
                                  <a:pos x="84" y="269"/>
                                </a:cxn>
                                <a:cxn ang="0">
                                  <a:pos x="95" y="314"/>
                                </a:cxn>
                                <a:cxn ang="0">
                                  <a:pos x="95" y="359"/>
                                </a:cxn>
                                <a:cxn ang="0">
                                  <a:pos x="95" y="409"/>
                                </a:cxn>
                                <a:cxn ang="0">
                                  <a:pos x="78" y="454"/>
                                </a:cxn>
                                <a:cxn ang="0">
                                  <a:pos x="62" y="493"/>
                                </a:cxn>
                                <a:cxn ang="0">
                                  <a:pos x="78" y="515"/>
                                </a:cxn>
                                <a:cxn ang="0">
                                  <a:pos x="106" y="538"/>
                                </a:cxn>
                                <a:cxn ang="0">
                                  <a:pos x="129" y="555"/>
                                </a:cxn>
                                <a:cxn ang="0">
                                  <a:pos x="145" y="577"/>
                                </a:cxn>
                                <a:cxn ang="0">
                                  <a:pos x="157" y="600"/>
                                </a:cxn>
                                <a:cxn ang="0">
                                  <a:pos x="168" y="633"/>
                                </a:cxn>
                                <a:cxn ang="0">
                                  <a:pos x="179" y="667"/>
                                </a:cxn>
                                <a:cxn ang="0">
                                  <a:pos x="196" y="678"/>
                                </a:cxn>
                                <a:cxn ang="0">
                                  <a:pos x="218" y="689"/>
                                </a:cxn>
                                <a:cxn ang="0">
                                  <a:pos x="229" y="695"/>
                                </a:cxn>
                                <a:cxn ang="0">
                                  <a:pos x="241" y="717"/>
                                </a:cxn>
                                <a:cxn ang="0">
                                  <a:pos x="246" y="734"/>
                                </a:cxn>
                                <a:cxn ang="0">
                                  <a:pos x="325" y="555"/>
                                </a:cxn>
                                <a:cxn ang="0">
                                  <a:pos x="631" y="510"/>
                                </a:cxn>
                                <a:cxn ang="0">
                                  <a:pos x="804" y="470"/>
                                </a:cxn>
                                <a:cxn ang="0">
                                  <a:pos x="884" y="521"/>
                                </a:cxn>
                                <a:cxn ang="0">
                                  <a:pos x="884" y="487"/>
                                </a:cxn>
                                <a:cxn ang="0">
                                  <a:pos x="867" y="459"/>
                                </a:cxn>
                                <a:cxn ang="0">
                                  <a:pos x="856" y="437"/>
                                </a:cxn>
                                <a:cxn ang="0">
                                  <a:pos x="845" y="398"/>
                                </a:cxn>
                                <a:cxn ang="0">
                                  <a:pos x="822" y="342"/>
                                </a:cxn>
                                <a:cxn ang="0">
                                  <a:pos x="817" y="319"/>
                                </a:cxn>
                                <a:cxn ang="0">
                                  <a:pos x="794" y="303"/>
                                </a:cxn>
                                <a:cxn ang="0">
                                  <a:pos x="778" y="297"/>
                                </a:cxn>
                                <a:cxn ang="0">
                                  <a:pos x="739" y="286"/>
                                </a:cxn>
                                <a:cxn ang="0">
                                  <a:pos x="694" y="224"/>
                                </a:cxn>
                                <a:cxn ang="0">
                                  <a:pos x="660" y="179"/>
                                </a:cxn>
                                <a:cxn ang="0">
                                  <a:pos x="638" y="146"/>
                                </a:cxn>
                                <a:cxn ang="0">
                                  <a:pos x="627" y="118"/>
                                </a:cxn>
                                <a:cxn ang="0">
                                  <a:pos x="621" y="84"/>
                                </a:cxn>
                                <a:cxn ang="0">
                                  <a:pos x="615" y="50"/>
                                </a:cxn>
                                <a:cxn ang="0">
                                  <a:pos x="615" y="11"/>
                                </a:cxn>
                                <a:cxn ang="0">
                                  <a:pos x="537" y="11"/>
                                </a:cxn>
                                <a:cxn ang="0">
                                  <a:pos x="431" y="22"/>
                                </a:cxn>
                                <a:cxn ang="0">
                                  <a:pos x="313" y="34"/>
                                </a:cxn>
                                <a:cxn ang="0">
                                  <a:pos x="201" y="39"/>
                                </a:cxn>
                                <a:cxn ang="0">
                                  <a:pos x="78" y="39"/>
                                </a:cxn>
                              </a:cxnLst>
                              <a:rect l="0" t="0" r="r" b="b"/>
                              <a:pathLst>
                                <a:path w="884" h="734">
                                  <a:moveTo>
                                    <a:pt x="0" y="39"/>
                                  </a:moveTo>
                                  <a:lnTo>
                                    <a:pt x="0" y="45"/>
                                  </a:lnTo>
                                  <a:lnTo>
                                    <a:pt x="6" y="56"/>
                                  </a:lnTo>
                                  <a:lnTo>
                                    <a:pt x="11" y="62"/>
                                  </a:lnTo>
                                  <a:lnTo>
                                    <a:pt x="17" y="73"/>
                                  </a:lnTo>
                                  <a:lnTo>
                                    <a:pt x="22" y="84"/>
                                  </a:lnTo>
                                  <a:lnTo>
                                    <a:pt x="28" y="101"/>
                                  </a:lnTo>
                                  <a:lnTo>
                                    <a:pt x="34" y="112"/>
                                  </a:lnTo>
                                  <a:lnTo>
                                    <a:pt x="34" y="123"/>
                                  </a:lnTo>
                                  <a:lnTo>
                                    <a:pt x="39" y="140"/>
                                  </a:lnTo>
                                  <a:lnTo>
                                    <a:pt x="50" y="151"/>
                                  </a:lnTo>
                                  <a:lnTo>
                                    <a:pt x="56" y="162"/>
                                  </a:lnTo>
                                  <a:lnTo>
                                    <a:pt x="67" y="196"/>
                                  </a:lnTo>
                                  <a:lnTo>
                                    <a:pt x="67" y="207"/>
                                  </a:lnTo>
                                  <a:lnTo>
                                    <a:pt x="73" y="224"/>
                                  </a:lnTo>
                                  <a:lnTo>
                                    <a:pt x="78" y="241"/>
                                  </a:lnTo>
                                  <a:lnTo>
                                    <a:pt x="78" y="252"/>
                                  </a:lnTo>
                                  <a:lnTo>
                                    <a:pt x="84" y="269"/>
                                  </a:lnTo>
                                  <a:lnTo>
                                    <a:pt x="84" y="286"/>
                                  </a:lnTo>
                                  <a:lnTo>
                                    <a:pt x="95" y="303"/>
                                  </a:lnTo>
                                  <a:lnTo>
                                    <a:pt x="95" y="314"/>
                                  </a:lnTo>
                                  <a:lnTo>
                                    <a:pt x="95" y="331"/>
                                  </a:lnTo>
                                  <a:lnTo>
                                    <a:pt x="95" y="347"/>
                                  </a:lnTo>
                                  <a:lnTo>
                                    <a:pt x="95" y="359"/>
                                  </a:lnTo>
                                  <a:lnTo>
                                    <a:pt x="95" y="381"/>
                                  </a:lnTo>
                                  <a:lnTo>
                                    <a:pt x="95" y="392"/>
                                  </a:lnTo>
                                  <a:lnTo>
                                    <a:pt x="95" y="409"/>
                                  </a:lnTo>
                                  <a:lnTo>
                                    <a:pt x="84" y="426"/>
                                  </a:lnTo>
                                  <a:lnTo>
                                    <a:pt x="84" y="437"/>
                                  </a:lnTo>
                                  <a:lnTo>
                                    <a:pt x="78" y="454"/>
                                  </a:lnTo>
                                  <a:lnTo>
                                    <a:pt x="73" y="465"/>
                                  </a:lnTo>
                                  <a:lnTo>
                                    <a:pt x="73" y="482"/>
                                  </a:lnTo>
                                  <a:lnTo>
                                    <a:pt x="62" y="493"/>
                                  </a:lnTo>
                                  <a:lnTo>
                                    <a:pt x="67" y="499"/>
                                  </a:lnTo>
                                  <a:lnTo>
                                    <a:pt x="73" y="504"/>
                                  </a:lnTo>
                                  <a:lnTo>
                                    <a:pt x="78" y="515"/>
                                  </a:lnTo>
                                  <a:lnTo>
                                    <a:pt x="84" y="521"/>
                                  </a:lnTo>
                                  <a:lnTo>
                                    <a:pt x="95" y="527"/>
                                  </a:lnTo>
                                  <a:lnTo>
                                    <a:pt x="106" y="538"/>
                                  </a:lnTo>
                                  <a:lnTo>
                                    <a:pt x="117" y="543"/>
                                  </a:lnTo>
                                  <a:lnTo>
                                    <a:pt x="123" y="549"/>
                                  </a:lnTo>
                                  <a:lnTo>
                                    <a:pt x="129" y="555"/>
                                  </a:lnTo>
                                  <a:lnTo>
                                    <a:pt x="134" y="566"/>
                                  </a:lnTo>
                                  <a:lnTo>
                                    <a:pt x="145" y="572"/>
                                  </a:lnTo>
                                  <a:lnTo>
                                    <a:pt x="145" y="577"/>
                                  </a:lnTo>
                                  <a:lnTo>
                                    <a:pt x="151" y="583"/>
                                  </a:lnTo>
                                  <a:lnTo>
                                    <a:pt x="151" y="588"/>
                                  </a:lnTo>
                                  <a:lnTo>
                                    <a:pt x="157" y="600"/>
                                  </a:lnTo>
                                  <a:lnTo>
                                    <a:pt x="162" y="616"/>
                                  </a:lnTo>
                                  <a:lnTo>
                                    <a:pt x="162" y="622"/>
                                  </a:lnTo>
                                  <a:lnTo>
                                    <a:pt x="168" y="633"/>
                                  </a:lnTo>
                                  <a:lnTo>
                                    <a:pt x="173" y="644"/>
                                  </a:lnTo>
                                  <a:lnTo>
                                    <a:pt x="173" y="650"/>
                                  </a:lnTo>
                                  <a:lnTo>
                                    <a:pt x="179" y="667"/>
                                  </a:lnTo>
                                  <a:lnTo>
                                    <a:pt x="179" y="672"/>
                                  </a:lnTo>
                                  <a:lnTo>
                                    <a:pt x="190" y="672"/>
                                  </a:lnTo>
                                  <a:lnTo>
                                    <a:pt x="196" y="678"/>
                                  </a:lnTo>
                                  <a:lnTo>
                                    <a:pt x="201" y="678"/>
                                  </a:lnTo>
                                  <a:lnTo>
                                    <a:pt x="207" y="684"/>
                                  </a:lnTo>
                                  <a:lnTo>
                                    <a:pt x="218" y="689"/>
                                  </a:lnTo>
                                  <a:lnTo>
                                    <a:pt x="224" y="689"/>
                                  </a:lnTo>
                                  <a:lnTo>
                                    <a:pt x="224" y="695"/>
                                  </a:lnTo>
                                  <a:lnTo>
                                    <a:pt x="229" y="695"/>
                                  </a:lnTo>
                                  <a:lnTo>
                                    <a:pt x="229" y="706"/>
                                  </a:lnTo>
                                  <a:lnTo>
                                    <a:pt x="241" y="712"/>
                                  </a:lnTo>
                                  <a:lnTo>
                                    <a:pt x="241" y="717"/>
                                  </a:lnTo>
                                  <a:lnTo>
                                    <a:pt x="246" y="723"/>
                                  </a:lnTo>
                                  <a:lnTo>
                                    <a:pt x="246" y="728"/>
                                  </a:lnTo>
                                  <a:lnTo>
                                    <a:pt x="246" y="734"/>
                                  </a:lnTo>
                                  <a:lnTo>
                                    <a:pt x="246" y="734"/>
                                  </a:lnTo>
                                  <a:lnTo>
                                    <a:pt x="252" y="734"/>
                                  </a:lnTo>
                                  <a:cubicBezTo>
                                    <a:pt x="265" y="704"/>
                                    <a:pt x="206" y="594"/>
                                    <a:pt x="325" y="555"/>
                                  </a:cubicBezTo>
                                  <a:cubicBezTo>
                                    <a:pt x="444" y="516"/>
                                    <a:pt x="541" y="650"/>
                                    <a:pt x="593" y="628"/>
                                  </a:cubicBezTo>
                                  <a:cubicBezTo>
                                    <a:pt x="643" y="630"/>
                                    <a:pt x="619" y="588"/>
                                    <a:pt x="625" y="568"/>
                                  </a:cubicBezTo>
                                  <a:cubicBezTo>
                                    <a:pt x="631" y="548"/>
                                    <a:pt x="620" y="531"/>
                                    <a:pt x="631" y="510"/>
                                  </a:cubicBezTo>
                                  <a:cubicBezTo>
                                    <a:pt x="642" y="489"/>
                                    <a:pt x="672" y="457"/>
                                    <a:pt x="692" y="445"/>
                                  </a:cubicBezTo>
                                  <a:cubicBezTo>
                                    <a:pt x="712" y="433"/>
                                    <a:pt x="722" y="426"/>
                                    <a:pt x="754" y="440"/>
                                  </a:cubicBezTo>
                                  <a:cubicBezTo>
                                    <a:pt x="773" y="444"/>
                                    <a:pt x="782" y="455"/>
                                    <a:pt x="804" y="470"/>
                                  </a:cubicBezTo>
                                  <a:cubicBezTo>
                                    <a:pt x="826" y="485"/>
                                    <a:pt x="871" y="517"/>
                                    <a:pt x="884" y="527"/>
                                  </a:cubicBezTo>
                                  <a:lnTo>
                                    <a:pt x="884" y="527"/>
                                  </a:lnTo>
                                  <a:lnTo>
                                    <a:pt x="884" y="521"/>
                                  </a:lnTo>
                                  <a:lnTo>
                                    <a:pt x="884" y="504"/>
                                  </a:lnTo>
                                  <a:lnTo>
                                    <a:pt x="884" y="493"/>
                                  </a:lnTo>
                                  <a:lnTo>
                                    <a:pt x="884" y="487"/>
                                  </a:lnTo>
                                  <a:lnTo>
                                    <a:pt x="878" y="482"/>
                                  </a:lnTo>
                                  <a:lnTo>
                                    <a:pt x="873" y="465"/>
                                  </a:lnTo>
                                  <a:lnTo>
                                    <a:pt x="867" y="459"/>
                                  </a:lnTo>
                                  <a:lnTo>
                                    <a:pt x="867" y="454"/>
                                  </a:lnTo>
                                  <a:lnTo>
                                    <a:pt x="862" y="448"/>
                                  </a:lnTo>
                                  <a:lnTo>
                                    <a:pt x="856" y="437"/>
                                  </a:lnTo>
                                  <a:lnTo>
                                    <a:pt x="856" y="431"/>
                                  </a:lnTo>
                                  <a:lnTo>
                                    <a:pt x="850" y="415"/>
                                  </a:lnTo>
                                  <a:lnTo>
                                    <a:pt x="845" y="398"/>
                                  </a:lnTo>
                                  <a:lnTo>
                                    <a:pt x="834" y="381"/>
                                  </a:lnTo>
                                  <a:lnTo>
                                    <a:pt x="828" y="359"/>
                                  </a:lnTo>
                                  <a:lnTo>
                                    <a:pt x="822" y="342"/>
                                  </a:lnTo>
                                  <a:lnTo>
                                    <a:pt x="822" y="336"/>
                                  </a:lnTo>
                                  <a:lnTo>
                                    <a:pt x="817" y="331"/>
                                  </a:lnTo>
                                  <a:lnTo>
                                    <a:pt x="817" y="319"/>
                                  </a:lnTo>
                                  <a:lnTo>
                                    <a:pt x="811" y="314"/>
                                  </a:lnTo>
                                  <a:lnTo>
                                    <a:pt x="806" y="308"/>
                                  </a:lnTo>
                                  <a:lnTo>
                                    <a:pt x="794" y="303"/>
                                  </a:lnTo>
                                  <a:lnTo>
                                    <a:pt x="789" y="303"/>
                                  </a:lnTo>
                                  <a:lnTo>
                                    <a:pt x="783" y="297"/>
                                  </a:lnTo>
                                  <a:lnTo>
                                    <a:pt x="778" y="297"/>
                                  </a:lnTo>
                                  <a:lnTo>
                                    <a:pt x="767" y="291"/>
                                  </a:lnTo>
                                  <a:lnTo>
                                    <a:pt x="755" y="291"/>
                                  </a:lnTo>
                                  <a:lnTo>
                                    <a:pt x="739" y="286"/>
                                  </a:lnTo>
                                  <a:lnTo>
                                    <a:pt x="727" y="269"/>
                                  </a:lnTo>
                                  <a:lnTo>
                                    <a:pt x="716" y="258"/>
                                  </a:lnTo>
                                  <a:lnTo>
                                    <a:pt x="694" y="224"/>
                                  </a:lnTo>
                                  <a:lnTo>
                                    <a:pt x="683" y="213"/>
                                  </a:lnTo>
                                  <a:lnTo>
                                    <a:pt x="671" y="202"/>
                                  </a:lnTo>
                                  <a:lnTo>
                                    <a:pt x="660" y="179"/>
                                  </a:lnTo>
                                  <a:lnTo>
                                    <a:pt x="649" y="168"/>
                                  </a:lnTo>
                                  <a:lnTo>
                                    <a:pt x="638" y="151"/>
                                  </a:lnTo>
                                  <a:lnTo>
                                    <a:pt x="638" y="146"/>
                                  </a:lnTo>
                                  <a:lnTo>
                                    <a:pt x="632" y="129"/>
                                  </a:lnTo>
                                  <a:lnTo>
                                    <a:pt x="632" y="123"/>
                                  </a:lnTo>
                                  <a:lnTo>
                                    <a:pt x="627" y="118"/>
                                  </a:lnTo>
                                  <a:lnTo>
                                    <a:pt x="621" y="106"/>
                                  </a:lnTo>
                                  <a:lnTo>
                                    <a:pt x="621" y="95"/>
                                  </a:lnTo>
                                  <a:lnTo>
                                    <a:pt x="621" y="84"/>
                                  </a:lnTo>
                                  <a:lnTo>
                                    <a:pt x="615" y="73"/>
                                  </a:lnTo>
                                  <a:lnTo>
                                    <a:pt x="615" y="62"/>
                                  </a:lnTo>
                                  <a:lnTo>
                                    <a:pt x="615" y="50"/>
                                  </a:lnTo>
                                  <a:lnTo>
                                    <a:pt x="615" y="34"/>
                                  </a:lnTo>
                                  <a:lnTo>
                                    <a:pt x="615" y="22"/>
                                  </a:lnTo>
                                  <a:lnTo>
                                    <a:pt x="615" y="11"/>
                                  </a:lnTo>
                                  <a:lnTo>
                                    <a:pt x="615" y="0"/>
                                  </a:lnTo>
                                  <a:lnTo>
                                    <a:pt x="576" y="6"/>
                                  </a:lnTo>
                                  <a:lnTo>
                                    <a:pt x="537" y="11"/>
                                  </a:lnTo>
                                  <a:lnTo>
                                    <a:pt x="504" y="17"/>
                                  </a:lnTo>
                                  <a:lnTo>
                                    <a:pt x="470" y="17"/>
                                  </a:lnTo>
                                  <a:lnTo>
                                    <a:pt x="431" y="22"/>
                                  </a:lnTo>
                                  <a:lnTo>
                                    <a:pt x="392" y="22"/>
                                  </a:lnTo>
                                  <a:lnTo>
                                    <a:pt x="352" y="28"/>
                                  </a:lnTo>
                                  <a:lnTo>
                                    <a:pt x="313" y="34"/>
                                  </a:lnTo>
                                  <a:lnTo>
                                    <a:pt x="280" y="34"/>
                                  </a:lnTo>
                                  <a:lnTo>
                                    <a:pt x="241" y="34"/>
                                  </a:lnTo>
                                  <a:lnTo>
                                    <a:pt x="201" y="39"/>
                                  </a:lnTo>
                                  <a:lnTo>
                                    <a:pt x="162" y="39"/>
                                  </a:lnTo>
                                  <a:lnTo>
                                    <a:pt x="117" y="39"/>
                                  </a:lnTo>
                                  <a:lnTo>
                                    <a:pt x="78" y="39"/>
                                  </a:lnTo>
                                  <a:lnTo>
                                    <a:pt x="39" y="39"/>
                                  </a:lnTo>
                                  <a:lnTo>
                                    <a:pt x="0" y="39"/>
                                  </a:lnTo>
                                </a:path>
                              </a:pathLst>
                            </a:custGeom>
                            <a:solidFill>
                              <a:schemeClr val="accent1">
                                <a:lumMod val="40000"/>
                                <a:lumOff val="60000"/>
                              </a:schemeClr>
                            </a:solidFill>
                            <a:ln w="3175">
                              <a:solidFill>
                                <a:schemeClr val="bg1"/>
                              </a:solidFill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lIns="104000" tIns="104000" rIns="104000" bIns="104000" anchor="ctr"/>
                            <a:lstStyle/>
                            <a:p>
                              <a:pPr algn="ctr" defTabSz="457200">
                                <a:lnSpc>
                                  <a:spcPct val="90000"/>
                                </a:lnSpc>
                                <a:buClr>
                                  <a:srgbClr val="0563C1"/>
                                </a:buClr>
                                <a:buSzPct val="110000"/>
                                <a:defRPr/>
                              </a:pPr>
                              <a:endParaRPr lang="en-US" sz="1050" dirty="0">
                                <a:solidFill>
                                  <a:prstClr val="white"/>
                                </a:solidFill>
                              </a:endParaRPr>
                            </a:p>
                          </p:txBody>
                        </p:sp>
                        <p:grpSp>
                          <p:nvGrpSpPr>
                            <p:cNvPr id="132" name="Group 42"/>
                            <p:cNvGrpSpPr>
                              <a:grpSpLocks/>
                            </p:cNvGrpSpPr>
                            <p:nvPr/>
                          </p:nvGrpSpPr>
                          <p:grpSpPr bwMode="auto">
                            <a:xfrm>
                              <a:off x="323522" y="1341312"/>
                              <a:ext cx="8064059" cy="4896000"/>
                              <a:chOff x="323522" y="1341312"/>
                              <a:chExt cx="8064059" cy="4896000"/>
                            </a:xfrm>
                          </p:grpSpPr>
                          <p:sp>
                            <p:nvSpPr>
                              <p:cNvPr id="133" name="Freeform 3"/>
                              <p:cNvSpPr>
                                <a:spLocks noEditPoints="1"/>
                              </p:cNvSpPr>
                              <p:nvPr/>
                            </p:nvSpPr>
                            <p:spPr bwMode="auto">
                              <a:xfrm>
                                <a:off x="3131523" y="1587219"/>
                                <a:ext cx="1497446" cy="2139388"/>
                              </a:xfrm>
                              <a:custGeom>
                                <a:avLst/>
                                <a:gdLst/>
                                <a:ahLst/>
                                <a:cxnLst>
                                  <a:cxn ang="0">
                                    <a:pos x="119" y="6"/>
                                  </a:cxn>
                                  <a:cxn ang="0">
                                    <a:pos x="121" y="17"/>
                                  </a:cxn>
                                  <a:cxn ang="0">
                                    <a:pos x="118" y="22"/>
                                  </a:cxn>
                                  <a:cxn ang="0">
                                    <a:pos x="121" y="29"/>
                                  </a:cxn>
                                  <a:cxn ang="0">
                                    <a:pos x="118" y="33"/>
                                  </a:cxn>
                                  <a:cxn ang="0">
                                    <a:pos x="123" y="38"/>
                                  </a:cxn>
                                  <a:cxn ang="0">
                                    <a:pos x="117" y="48"/>
                                  </a:cxn>
                                  <a:cxn ang="0">
                                    <a:pos x="114" y="62"/>
                                  </a:cxn>
                                  <a:cxn ang="0">
                                    <a:pos x="110" y="79"/>
                                  </a:cxn>
                                  <a:cxn ang="0">
                                    <a:pos x="103" y="96"/>
                                  </a:cxn>
                                  <a:cxn ang="0">
                                    <a:pos x="109" y="107"/>
                                  </a:cxn>
                                  <a:cxn ang="0">
                                    <a:pos x="119" y="113"/>
                                  </a:cxn>
                                  <a:cxn ang="0">
                                    <a:pos x="134" y="121"/>
                                  </a:cxn>
                                  <a:cxn ang="0">
                                    <a:pos x="150" y="126"/>
                                  </a:cxn>
                                  <a:cxn ang="0">
                                    <a:pos x="149" y="135"/>
                                  </a:cxn>
                                  <a:cxn ang="0">
                                    <a:pos x="129" y="157"/>
                                  </a:cxn>
                                  <a:cxn ang="0">
                                    <a:pos x="120" y="169"/>
                                  </a:cxn>
                                  <a:cxn ang="0">
                                    <a:pos x="108" y="180"/>
                                  </a:cxn>
                                  <a:cxn ang="0">
                                    <a:pos x="90" y="182"/>
                                  </a:cxn>
                                  <a:cxn ang="0">
                                    <a:pos x="75" y="197"/>
                                  </a:cxn>
                                  <a:cxn ang="0">
                                    <a:pos x="68" y="194"/>
                                  </a:cxn>
                                  <a:cxn ang="0">
                                    <a:pos x="52" y="180"/>
                                  </a:cxn>
                                  <a:cxn ang="0">
                                    <a:pos x="46" y="173"/>
                                  </a:cxn>
                                  <a:cxn ang="0">
                                    <a:pos x="39" y="170"/>
                                  </a:cxn>
                                  <a:cxn ang="0">
                                    <a:pos x="42" y="158"/>
                                  </a:cxn>
                                  <a:cxn ang="0">
                                    <a:pos x="50" y="148"/>
                                  </a:cxn>
                                  <a:cxn ang="0">
                                    <a:pos x="46" y="122"/>
                                  </a:cxn>
                                  <a:cxn ang="0">
                                    <a:pos x="28" y="98"/>
                                  </a:cxn>
                                  <a:cxn ang="0">
                                    <a:pos x="14" y="90"/>
                                  </a:cxn>
                                  <a:cxn ang="0">
                                    <a:pos x="4" y="82"/>
                                  </a:cxn>
                                  <a:cxn ang="0">
                                    <a:pos x="0" y="78"/>
                                  </a:cxn>
                                  <a:cxn ang="0">
                                    <a:pos x="5" y="75"/>
                                  </a:cxn>
                                  <a:cxn ang="0">
                                    <a:pos x="9" y="73"/>
                                  </a:cxn>
                                  <a:cxn ang="0">
                                    <a:pos x="15" y="69"/>
                                  </a:cxn>
                                  <a:cxn ang="0">
                                    <a:pos x="17" y="63"/>
                                  </a:cxn>
                                  <a:cxn ang="0">
                                    <a:pos x="14" y="57"/>
                                  </a:cxn>
                                  <a:cxn ang="0">
                                    <a:pos x="18" y="50"/>
                                  </a:cxn>
                                  <a:cxn ang="0">
                                    <a:pos x="36" y="50"/>
                                  </a:cxn>
                                  <a:cxn ang="0">
                                    <a:pos x="39" y="47"/>
                                  </a:cxn>
                                  <a:cxn ang="0">
                                    <a:pos x="38" y="42"/>
                                  </a:cxn>
                                  <a:cxn ang="0">
                                    <a:pos x="34" y="40"/>
                                  </a:cxn>
                                  <a:cxn ang="0">
                                    <a:pos x="28" y="37"/>
                                  </a:cxn>
                                  <a:cxn ang="0">
                                    <a:pos x="23" y="35"/>
                                  </a:cxn>
                                  <a:cxn ang="0">
                                    <a:pos x="31" y="29"/>
                                  </a:cxn>
                                  <a:cxn ang="0">
                                    <a:pos x="28" y="28"/>
                                  </a:cxn>
                                  <a:cxn ang="0">
                                    <a:pos x="21" y="26"/>
                                  </a:cxn>
                                  <a:cxn ang="0">
                                    <a:pos x="23" y="23"/>
                                  </a:cxn>
                                  <a:cxn ang="0">
                                    <a:pos x="23" y="20"/>
                                  </a:cxn>
                                  <a:cxn ang="0">
                                    <a:pos x="22" y="17"/>
                                  </a:cxn>
                                  <a:cxn ang="0">
                                    <a:pos x="31" y="18"/>
                                  </a:cxn>
                                  <a:cxn ang="0">
                                    <a:pos x="54" y="18"/>
                                  </a:cxn>
                                  <a:cxn ang="0">
                                    <a:pos x="63" y="15"/>
                                  </a:cxn>
                                  <a:cxn ang="0">
                                    <a:pos x="69" y="13"/>
                                  </a:cxn>
                                  <a:cxn ang="0">
                                    <a:pos x="80" y="10"/>
                                  </a:cxn>
                                  <a:cxn ang="0">
                                    <a:pos x="88" y="12"/>
                                  </a:cxn>
                                  <a:cxn ang="0">
                                    <a:pos x="98" y="10"/>
                                  </a:cxn>
                                  <a:cxn ang="0">
                                    <a:pos x="100" y="5"/>
                                  </a:cxn>
                                  <a:cxn ang="0">
                                    <a:pos x="104" y="3"/>
                                  </a:cxn>
                                  <a:cxn ang="0">
                                    <a:pos x="109" y="1"/>
                                  </a:cxn>
                                  <a:cxn ang="0">
                                    <a:pos x="9" y="86"/>
                                  </a:cxn>
                                  <a:cxn ang="0">
                                    <a:pos x="11" y="85"/>
                                  </a:cxn>
                                </a:cxnLst>
                                <a:rect l="0" t="0" r="r" b="b"/>
                                <a:pathLst>
                                  <a:path w="151" h="199">
                                    <a:moveTo>
                                      <a:pt x="109" y="0"/>
                                    </a:moveTo>
                                    <a:lnTo>
                                      <a:pt x="112" y="0"/>
                                    </a:lnTo>
                                    <a:lnTo>
                                      <a:pt x="114" y="0"/>
                                    </a:lnTo>
                                    <a:lnTo>
                                      <a:pt x="116" y="0"/>
                                    </a:lnTo>
                                    <a:lnTo>
                                      <a:pt x="118" y="0"/>
                                    </a:lnTo>
                                    <a:lnTo>
                                      <a:pt x="118" y="1"/>
                                    </a:lnTo>
                                    <a:lnTo>
                                      <a:pt x="118" y="1"/>
                                    </a:lnTo>
                                    <a:lnTo>
                                      <a:pt x="119" y="2"/>
                                    </a:lnTo>
                                    <a:lnTo>
                                      <a:pt x="119" y="2"/>
                                    </a:lnTo>
                                    <a:lnTo>
                                      <a:pt x="119" y="3"/>
                                    </a:lnTo>
                                    <a:lnTo>
                                      <a:pt x="119" y="4"/>
                                    </a:lnTo>
                                    <a:lnTo>
                                      <a:pt x="119" y="5"/>
                                    </a:lnTo>
                                    <a:lnTo>
                                      <a:pt x="119" y="6"/>
                                    </a:lnTo>
                                    <a:lnTo>
                                      <a:pt x="119" y="7"/>
                                    </a:lnTo>
                                    <a:lnTo>
                                      <a:pt x="119" y="8"/>
                                    </a:lnTo>
                                    <a:lnTo>
                                      <a:pt x="119" y="9"/>
                                    </a:lnTo>
                                    <a:lnTo>
                                      <a:pt x="119" y="11"/>
                                    </a:lnTo>
                                    <a:lnTo>
                                      <a:pt x="119" y="12"/>
                                    </a:lnTo>
                                    <a:lnTo>
                                      <a:pt x="119" y="12"/>
                                    </a:lnTo>
                                    <a:lnTo>
                                      <a:pt x="119" y="13"/>
                                    </a:lnTo>
                                    <a:lnTo>
                                      <a:pt x="120" y="14"/>
                                    </a:lnTo>
                                    <a:lnTo>
                                      <a:pt x="120" y="15"/>
                                    </a:lnTo>
                                    <a:lnTo>
                                      <a:pt x="120" y="15"/>
                                    </a:lnTo>
                                    <a:lnTo>
                                      <a:pt x="120" y="16"/>
                                    </a:lnTo>
                                    <a:lnTo>
                                      <a:pt x="121" y="16"/>
                                    </a:lnTo>
                                    <a:lnTo>
                                      <a:pt x="121" y="17"/>
                                    </a:lnTo>
                                    <a:lnTo>
                                      <a:pt x="121" y="17"/>
                                    </a:lnTo>
                                    <a:lnTo>
                                      <a:pt x="121" y="18"/>
                                    </a:lnTo>
                                    <a:lnTo>
                                      <a:pt x="121" y="18"/>
                                    </a:lnTo>
                                    <a:lnTo>
                                      <a:pt x="121" y="19"/>
                                    </a:lnTo>
                                    <a:lnTo>
                                      <a:pt x="121" y="19"/>
                                    </a:lnTo>
                                    <a:lnTo>
                                      <a:pt x="121" y="20"/>
                                    </a:lnTo>
                                    <a:lnTo>
                                      <a:pt x="120" y="20"/>
                                    </a:lnTo>
                                    <a:lnTo>
                                      <a:pt x="120" y="21"/>
                                    </a:lnTo>
                                    <a:lnTo>
                                      <a:pt x="120" y="21"/>
                                    </a:lnTo>
                                    <a:lnTo>
                                      <a:pt x="119" y="21"/>
                                    </a:lnTo>
                                    <a:lnTo>
                                      <a:pt x="119" y="21"/>
                                    </a:lnTo>
                                    <a:lnTo>
                                      <a:pt x="118" y="21"/>
                                    </a:lnTo>
                                    <a:lnTo>
                                      <a:pt x="118" y="22"/>
                                    </a:lnTo>
                                    <a:lnTo>
                                      <a:pt x="117" y="22"/>
                                    </a:lnTo>
                                    <a:lnTo>
                                      <a:pt x="117" y="22"/>
                                    </a:lnTo>
                                    <a:lnTo>
                                      <a:pt x="116" y="22"/>
                                    </a:lnTo>
                                    <a:lnTo>
                                      <a:pt x="117" y="22"/>
                                    </a:lnTo>
                                    <a:lnTo>
                                      <a:pt x="117" y="23"/>
                                    </a:lnTo>
                                    <a:lnTo>
                                      <a:pt x="118" y="24"/>
                                    </a:lnTo>
                                    <a:lnTo>
                                      <a:pt x="118" y="24"/>
                                    </a:lnTo>
                                    <a:lnTo>
                                      <a:pt x="119" y="25"/>
                                    </a:lnTo>
                                    <a:lnTo>
                                      <a:pt x="119" y="26"/>
                                    </a:lnTo>
                                    <a:lnTo>
                                      <a:pt x="120" y="27"/>
                                    </a:lnTo>
                                    <a:lnTo>
                                      <a:pt x="120" y="28"/>
                                    </a:lnTo>
                                    <a:lnTo>
                                      <a:pt x="121" y="28"/>
                                    </a:lnTo>
                                    <a:lnTo>
                                      <a:pt x="121" y="29"/>
                                    </a:lnTo>
                                    <a:lnTo>
                                      <a:pt x="121" y="29"/>
                                    </a:lnTo>
                                    <a:lnTo>
                                      <a:pt x="121" y="30"/>
                                    </a:lnTo>
                                    <a:lnTo>
                                      <a:pt x="121" y="30"/>
                                    </a:lnTo>
                                    <a:lnTo>
                                      <a:pt x="121" y="30"/>
                                    </a:lnTo>
                                    <a:lnTo>
                                      <a:pt x="121" y="31"/>
                                    </a:lnTo>
                                    <a:lnTo>
                                      <a:pt x="121" y="31"/>
                                    </a:lnTo>
                                    <a:lnTo>
                                      <a:pt x="121" y="31"/>
                                    </a:lnTo>
                                    <a:lnTo>
                                      <a:pt x="120" y="32"/>
                                    </a:lnTo>
                                    <a:lnTo>
                                      <a:pt x="120" y="32"/>
                                    </a:lnTo>
                                    <a:lnTo>
                                      <a:pt x="119" y="32"/>
                                    </a:lnTo>
                                    <a:lnTo>
                                      <a:pt x="119" y="33"/>
                                    </a:lnTo>
                                    <a:lnTo>
                                      <a:pt x="118" y="33"/>
                                    </a:lnTo>
                                    <a:lnTo>
                                      <a:pt x="118" y="33"/>
                                    </a:lnTo>
                                    <a:lnTo>
                                      <a:pt x="118" y="34"/>
                                    </a:lnTo>
                                    <a:lnTo>
                                      <a:pt x="118" y="34"/>
                                    </a:lnTo>
                                    <a:lnTo>
                                      <a:pt x="118" y="35"/>
                                    </a:lnTo>
                                    <a:lnTo>
                                      <a:pt x="119" y="35"/>
                                    </a:lnTo>
                                    <a:lnTo>
                                      <a:pt x="119" y="35"/>
                                    </a:lnTo>
                                    <a:lnTo>
                                      <a:pt x="119" y="35"/>
                                    </a:lnTo>
                                    <a:lnTo>
                                      <a:pt x="120" y="36"/>
                                    </a:lnTo>
                                    <a:lnTo>
                                      <a:pt x="121" y="36"/>
                                    </a:lnTo>
                                    <a:lnTo>
                                      <a:pt x="122" y="36"/>
                                    </a:lnTo>
                                    <a:lnTo>
                                      <a:pt x="122" y="36"/>
                                    </a:lnTo>
                                    <a:lnTo>
                                      <a:pt x="123" y="37"/>
                                    </a:lnTo>
                                    <a:lnTo>
                                      <a:pt x="123" y="37"/>
                                    </a:lnTo>
                                    <a:lnTo>
                                      <a:pt x="123" y="38"/>
                                    </a:lnTo>
                                    <a:lnTo>
                                      <a:pt x="123" y="38"/>
                                    </a:lnTo>
                                    <a:lnTo>
                                      <a:pt x="123" y="39"/>
                                    </a:lnTo>
                                    <a:lnTo>
                                      <a:pt x="122" y="40"/>
                                    </a:lnTo>
                                    <a:lnTo>
                                      <a:pt x="122" y="42"/>
                                    </a:lnTo>
                                    <a:lnTo>
                                      <a:pt x="121" y="44"/>
                                    </a:lnTo>
                                    <a:lnTo>
                                      <a:pt x="121" y="45"/>
                                    </a:lnTo>
                                    <a:lnTo>
                                      <a:pt x="121" y="45"/>
                                    </a:lnTo>
                                    <a:lnTo>
                                      <a:pt x="120" y="46"/>
                                    </a:lnTo>
                                    <a:lnTo>
                                      <a:pt x="120" y="47"/>
                                    </a:lnTo>
                                    <a:lnTo>
                                      <a:pt x="119" y="48"/>
                                    </a:lnTo>
                                    <a:lnTo>
                                      <a:pt x="119" y="48"/>
                                    </a:lnTo>
                                    <a:lnTo>
                                      <a:pt x="118" y="48"/>
                                    </a:lnTo>
                                    <a:lnTo>
                                      <a:pt x="117" y="48"/>
                                    </a:lnTo>
                                    <a:lnTo>
                                      <a:pt x="117" y="48"/>
                                    </a:lnTo>
                                    <a:lnTo>
                                      <a:pt x="116" y="48"/>
                                    </a:lnTo>
                                    <a:lnTo>
                                      <a:pt x="116" y="48"/>
                                    </a:lnTo>
                                    <a:lnTo>
                                      <a:pt x="115" y="48"/>
                                    </a:lnTo>
                                    <a:lnTo>
                                      <a:pt x="114" y="48"/>
                                    </a:lnTo>
                                    <a:lnTo>
                                      <a:pt x="115" y="49"/>
                                    </a:lnTo>
                                    <a:lnTo>
                                      <a:pt x="115" y="51"/>
                                    </a:lnTo>
                                    <a:lnTo>
                                      <a:pt x="114" y="53"/>
                                    </a:lnTo>
                                    <a:lnTo>
                                      <a:pt x="114" y="56"/>
                                    </a:lnTo>
                                    <a:lnTo>
                                      <a:pt x="114" y="58"/>
                                    </a:lnTo>
                                    <a:lnTo>
                                      <a:pt x="114" y="60"/>
                                    </a:lnTo>
                                    <a:lnTo>
                                      <a:pt x="114" y="61"/>
                                    </a:lnTo>
                                    <a:lnTo>
                                      <a:pt x="114" y="62"/>
                                    </a:lnTo>
                                    <a:lnTo>
                                      <a:pt x="115" y="63"/>
                                    </a:lnTo>
                                    <a:lnTo>
                                      <a:pt x="115" y="64"/>
                                    </a:lnTo>
                                    <a:lnTo>
                                      <a:pt x="115" y="65"/>
                                    </a:lnTo>
                                    <a:lnTo>
                                      <a:pt x="116" y="66"/>
                                    </a:lnTo>
                                    <a:lnTo>
                                      <a:pt x="116" y="66"/>
                                    </a:lnTo>
                                    <a:lnTo>
                                      <a:pt x="116" y="68"/>
                                    </a:lnTo>
                                    <a:lnTo>
                                      <a:pt x="115" y="70"/>
                                    </a:lnTo>
                                    <a:lnTo>
                                      <a:pt x="115" y="72"/>
                                    </a:lnTo>
                                    <a:lnTo>
                                      <a:pt x="114" y="74"/>
                                    </a:lnTo>
                                    <a:lnTo>
                                      <a:pt x="113" y="75"/>
                                    </a:lnTo>
                                    <a:lnTo>
                                      <a:pt x="112" y="77"/>
                                    </a:lnTo>
                                    <a:lnTo>
                                      <a:pt x="111" y="78"/>
                                    </a:lnTo>
                                    <a:lnTo>
                                      <a:pt x="110" y="79"/>
                                    </a:lnTo>
                                    <a:lnTo>
                                      <a:pt x="109" y="81"/>
                                    </a:lnTo>
                                    <a:lnTo>
                                      <a:pt x="108" y="82"/>
                                    </a:lnTo>
                                    <a:lnTo>
                                      <a:pt x="107" y="83"/>
                                    </a:lnTo>
                                    <a:lnTo>
                                      <a:pt x="106" y="84"/>
                                    </a:lnTo>
                                    <a:lnTo>
                                      <a:pt x="105" y="85"/>
                                    </a:lnTo>
                                    <a:lnTo>
                                      <a:pt x="104" y="86"/>
                                    </a:lnTo>
                                    <a:lnTo>
                                      <a:pt x="101" y="88"/>
                                    </a:lnTo>
                                    <a:lnTo>
                                      <a:pt x="101" y="89"/>
                                    </a:lnTo>
                                    <a:lnTo>
                                      <a:pt x="102" y="90"/>
                                    </a:lnTo>
                                    <a:lnTo>
                                      <a:pt x="102" y="91"/>
                                    </a:lnTo>
                                    <a:lnTo>
                                      <a:pt x="102" y="92"/>
                                    </a:lnTo>
                                    <a:lnTo>
                                      <a:pt x="103" y="94"/>
                                    </a:lnTo>
                                    <a:lnTo>
                                      <a:pt x="103" y="96"/>
                                    </a:lnTo>
                                    <a:lnTo>
                                      <a:pt x="103" y="98"/>
                                    </a:lnTo>
                                    <a:lnTo>
                                      <a:pt x="103" y="100"/>
                                    </a:lnTo>
                                    <a:lnTo>
                                      <a:pt x="103" y="102"/>
                                    </a:lnTo>
                                    <a:lnTo>
                                      <a:pt x="103" y="105"/>
                                    </a:lnTo>
                                    <a:lnTo>
                                      <a:pt x="103" y="105"/>
                                    </a:lnTo>
                                    <a:lnTo>
                                      <a:pt x="103" y="106"/>
                                    </a:lnTo>
                                    <a:lnTo>
                                      <a:pt x="104" y="106"/>
                                    </a:lnTo>
                                    <a:lnTo>
                                      <a:pt x="104" y="107"/>
                                    </a:lnTo>
                                    <a:lnTo>
                                      <a:pt x="105" y="107"/>
                                    </a:lnTo>
                                    <a:lnTo>
                                      <a:pt x="106" y="107"/>
                                    </a:lnTo>
                                    <a:lnTo>
                                      <a:pt x="107" y="107"/>
                                    </a:lnTo>
                                    <a:lnTo>
                                      <a:pt x="108" y="107"/>
                                    </a:lnTo>
                                    <a:lnTo>
                                      <a:pt x="109" y="107"/>
                                    </a:lnTo>
                                    <a:lnTo>
                                      <a:pt x="111" y="106"/>
                                    </a:lnTo>
                                    <a:lnTo>
                                      <a:pt x="112" y="106"/>
                                    </a:lnTo>
                                    <a:lnTo>
                                      <a:pt x="113" y="106"/>
                                    </a:lnTo>
                                    <a:lnTo>
                                      <a:pt x="114" y="106"/>
                                    </a:lnTo>
                                    <a:lnTo>
                                      <a:pt x="114" y="106"/>
                                    </a:lnTo>
                                    <a:lnTo>
                                      <a:pt x="115" y="108"/>
                                    </a:lnTo>
                                    <a:lnTo>
                                      <a:pt x="115" y="109"/>
                                    </a:lnTo>
                                    <a:lnTo>
                                      <a:pt x="116" y="109"/>
                                    </a:lnTo>
                                    <a:lnTo>
                                      <a:pt x="116" y="110"/>
                                    </a:lnTo>
                                    <a:lnTo>
                                      <a:pt x="117" y="111"/>
                                    </a:lnTo>
                                    <a:lnTo>
                                      <a:pt x="117" y="112"/>
                                    </a:lnTo>
                                    <a:lnTo>
                                      <a:pt x="118" y="113"/>
                                    </a:lnTo>
                                    <a:lnTo>
                                      <a:pt x="119" y="113"/>
                                    </a:lnTo>
                                    <a:lnTo>
                                      <a:pt x="120" y="114"/>
                                    </a:lnTo>
                                    <a:lnTo>
                                      <a:pt x="121" y="114"/>
                                    </a:lnTo>
                                    <a:lnTo>
                                      <a:pt x="122" y="115"/>
                                    </a:lnTo>
                                    <a:lnTo>
                                      <a:pt x="123" y="115"/>
                                    </a:lnTo>
                                    <a:lnTo>
                                      <a:pt x="125" y="115"/>
                                    </a:lnTo>
                                    <a:lnTo>
                                      <a:pt x="126" y="115"/>
                                    </a:lnTo>
                                    <a:lnTo>
                                      <a:pt x="128" y="115"/>
                                    </a:lnTo>
                                    <a:lnTo>
                                      <a:pt x="129" y="115"/>
                                    </a:lnTo>
                                    <a:lnTo>
                                      <a:pt x="130" y="116"/>
                                    </a:lnTo>
                                    <a:lnTo>
                                      <a:pt x="131" y="117"/>
                                    </a:lnTo>
                                    <a:lnTo>
                                      <a:pt x="132" y="118"/>
                                    </a:lnTo>
                                    <a:lnTo>
                                      <a:pt x="132" y="119"/>
                                    </a:lnTo>
                                    <a:lnTo>
                                      <a:pt x="134" y="121"/>
                                    </a:lnTo>
                                    <a:lnTo>
                                      <a:pt x="136" y="123"/>
                                    </a:lnTo>
                                    <a:lnTo>
                                      <a:pt x="139" y="123"/>
                                    </a:lnTo>
                                    <a:lnTo>
                                      <a:pt x="141" y="123"/>
                                    </a:lnTo>
                                    <a:lnTo>
                                      <a:pt x="143" y="123"/>
                                    </a:lnTo>
                                    <a:lnTo>
                                      <a:pt x="144" y="123"/>
                                    </a:lnTo>
                                    <a:lnTo>
                                      <a:pt x="145" y="123"/>
                                    </a:lnTo>
                                    <a:lnTo>
                                      <a:pt x="146" y="123"/>
                                    </a:lnTo>
                                    <a:lnTo>
                                      <a:pt x="147" y="124"/>
                                    </a:lnTo>
                                    <a:lnTo>
                                      <a:pt x="148" y="124"/>
                                    </a:lnTo>
                                    <a:lnTo>
                                      <a:pt x="148" y="124"/>
                                    </a:lnTo>
                                    <a:lnTo>
                                      <a:pt x="149" y="125"/>
                                    </a:lnTo>
                                    <a:lnTo>
                                      <a:pt x="150" y="125"/>
                                    </a:lnTo>
                                    <a:lnTo>
                                      <a:pt x="150" y="126"/>
                                    </a:lnTo>
                                    <a:lnTo>
                                      <a:pt x="151" y="126"/>
                                    </a:lnTo>
                                    <a:lnTo>
                                      <a:pt x="151" y="127"/>
                                    </a:lnTo>
                                    <a:lnTo>
                                      <a:pt x="151" y="128"/>
                                    </a:lnTo>
                                    <a:lnTo>
                                      <a:pt x="151" y="129"/>
                                    </a:lnTo>
                                    <a:lnTo>
                                      <a:pt x="151" y="129"/>
                                    </a:lnTo>
                                    <a:lnTo>
                                      <a:pt x="151" y="130"/>
                                    </a:lnTo>
                                    <a:lnTo>
                                      <a:pt x="151" y="130"/>
                                    </a:lnTo>
                                    <a:lnTo>
                                      <a:pt x="150" y="131"/>
                                    </a:lnTo>
                                    <a:lnTo>
                                      <a:pt x="150" y="132"/>
                                    </a:lnTo>
                                    <a:lnTo>
                                      <a:pt x="149" y="133"/>
                                    </a:lnTo>
                                    <a:lnTo>
                                      <a:pt x="149" y="133"/>
                                    </a:lnTo>
                                    <a:lnTo>
                                      <a:pt x="149" y="134"/>
                                    </a:lnTo>
                                    <a:lnTo>
                                      <a:pt x="149" y="135"/>
                                    </a:lnTo>
                                    <a:lnTo>
                                      <a:pt x="149" y="135"/>
                                    </a:lnTo>
                                    <a:lnTo>
                                      <a:pt x="149" y="136"/>
                                    </a:lnTo>
                                    <a:lnTo>
                                      <a:pt x="147" y="138"/>
                                    </a:lnTo>
                                    <a:lnTo>
                                      <a:pt x="146" y="139"/>
                                    </a:lnTo>
                                    <a:lnTo>
                                      <a:pt x="144" y="141"/>
                                    </a:lnTo>
                                    <a:lnTo>
                                      <a:pt x="142" y="143"/>
                                    </a:lnTo>
                                    <a:lnTo>
                                      <a:pt x="141" y="144"/>
                                    </a:lnTo>
                                    <a:lnTo>
                                      <a:pt x="139" y="146"/>
                                    </a:lnTo>
                                    <a:lnTo>
                                      <a:pt x="136" y="150"/>
                                    </a:lnTo>
                                    <a:lnTo>
                                      <a:pt x="134" y="152"/>
                                    </a:lnTo>
                                    <a:lnTo>
                                      <a:pt x="133" y="154"/>
                                    </a:lnTo>
                                    <a:lnTo>
                                      <a:pt x="131" y="155"/>
                                    </a:lnTo>
                                    <a:lnTo>
                                      <a:pt x="129" y="157"/>
                                    </a:lnTo>
                                    <a:lnTo>
                                      <a:pt x="127" y="159"/>
                                    </a:lnTo>
                                    <a:lnTo>
                                      <a:pt x="125" y="160"/>
                                    </a:lnTo>
                                    <a:lnTo>
                                      <a:pt x="123" y="162"/>
                                    </a:lnTo>
                                    <a:lnTo>
                                      <a:pt x="122" y="162"/>
                                    </a:lnTo>
                                    <a:lnTo>
                                      <a:pt x="121" y="163"/>
                                    </a:lnTo>
                                    <a:lnTo>
                                      <a:pt x="121" y="164"/>
                                    </a:lnTo>
                                    <a:lnTo>
                                      <a:pt x="121" y="165"/>
                                    </a:lnTo>
                                    <a:lnTo>
                                      <a:pt x="121" y="165"/>
                                    </a:lnTo>
                                    <a:lnTo>
                                      <a:pt x="121" y="166"/>
                                    </a:lnTo>
                                    <a:lnTo>
                                      <a:pt x="121" y="166"/>
                                    </a:lnTo>
                                    <a:lnTo>
                                      <a:pt x="121" y="167"/>
                                    </a:lnTo>
                                    <a:lnTo>
                                      <a:pt x="120" y="168"/>
                                    </a:lnTo>
                                    <a:lnTo>
                                      <a:pt x="120" y="169"/>
                                    </a:lnTo>
                                    <a:lnTo>
                                      <a:pt x="119" y="169"/>
                                    </a:lnTo>
                                    <a:lnTo>
                                      <a:pt x="119" y="170"/>
                                    </a:lnTo>
                                    <a:lnTo>
                                      <a:pt x="119" y="171"/>
                                    </a:lnTo>
                                    <a:lnTo>
                                      <a:pt x="119" y="171"/>
                                    </a:lnTo>
                                    <a:lnTo>
                                      <a:pt x="119" y="172"/>
                                    </a:lnTo>
                                    <a:lnTo>
                                      <a:pt x="119" y="173"/>
                                    </a:lnTo>
                                    <a:lnTo>
                                      <a:pt x="118" y="173"/>
                                    </a:lnTo>
                                    <a:lnTo>
                                      <a:pt x="117" y="174"/>
                                    </a:lnTo>
                                    <a:lnTo>
                                      <a:pt x="115" y="175"/>
                                    </a:lnTo>
                                    <a:lnTo>
                                      <a:pt x="114" y="176"/>
                                    </a:lnTo>
                                    <a:lnTo>
                                      <a:pt x="112" y="178"/>
                                    </a:lnTo>
                                    <a:lnTo>
                                      <a:pt x="110" y="179"/>
                                    </a:lnTo>
                                    <a:lnTo>
                                      <a:pt x="108" y="180"/>
                                    </a:lnTo>
                                    <a:lnTo>
                                      <a:pt x="106" y="182"/>
                                    </a:lnTo>
                                    <a:lnTo>
                                      <a:pt x="104" y="183"/>
                                    </a:lnTo>
                                    <a:lnTo>
                                      <a:pt x="103" y="183"/>
                                    </a:lnTo>
                                    <a:lnTo>
                                      <a:pt x="102" y="183"/>
                                    </a:lnTo>
                                    <a:lnTo>
                                      <a:pt x="100" y="183"/>
                                    </a:lnTo>
                                    <a:lnTo>
                                      <a:pt x="99" y="183"/>
                                    </a:lnTo>
                                    <a:lnTo>
                                      <a:pt x="97" y="183"/>
                                    </a:lnTo>
                                    <a:lnTo>
                                      <a:pt x="96" y="183"/>
                                    </a:lnTo>
                                    <a:lnTo>
                                      <a:pt x="95" y="183"/>
                                    </a:lnTo>
                                    <a:lnTo>
                                      <a:pt x="94" y="183"/>
                                    </a:lnTo>
                                    <a:lnTo>
                                      <a:pt x="92" y="182"/>
                                    </a:lnTo>
                                    <a:lnTo>
                                      <a:pt x="91" y="182"/>
                                    </a:lnTo>
                                    <a:lnTo>
                                      <a:pt x="90" y="182"/>
                                    </a:lnTo>
                                    <a:lnTo>
                                      <a:pt x="89" y="182"/>
                                    </a:lnTo>
                                    <a:lnTo>
                                      <a:pt x="88" y="182"/>
                                    </a:lnTo>
                                    <a:lnTo>
                                      <a:pt x="87" y="183"/>
                                    </a:lnTo>
                                    <a:lnTo>
                                      <a:pt x="86" y="183"/>
                                    </a:lnTo>
                                    <a:lnTo>
                                      <a:pt x="84" y="185"/>
                                    </a:lnTo>
                                    <a:lnTo>
                                      <a:pt x="83" y="188"/>
                                    </a:lnTo>
                                    <a:lnTo>
                                      <a:pt x="81" y="190"/>
                                    </a:lnTo>
                                    <a:lnTo>
                                      <a:pt x="80" y="192"/>
                                    </a:lnTo>
                                    <a:lnTo>
                                      <a:pt x="79" y="193"/>
                                    </a:lnTo>
                                    <a:lnTo>
                                      <a:pt x="78" y="194"/>
                                    </a:lnTo>
                                    <a:lnTo>
                                      <a:pt x="77" y="195"/>
                                    </a:lnTo>
                                    <a:lnTo>
                                      <a:pt x="76" y="196"/>
                                    </a:lnTo>
                                    <a:lnTo>
                                      <a:pt x="75" y="197"/>
                                    </a:lnTo>
                                    <a:lnTo>
                                      <a:pt x="74" y="198"/>
                                    </a:lnTo>
                                    <a:lnTo>
                                      <a:pt x="72" y="199"/>
                                    </a:lnTo>
                                    <a:lnTo>
                                      <a:pt x="71" y="199"/>
                                    </a:lnTo>
                                    <a:lnTo>
                                      <a:pt x="71" y="199"/>
                                    </a:lnTo>
                                    <a:lnTo>
                                      <a:pt x="70" y="199"/>
                                    </a:lnTo>
                                    <a:lnTo>
                                      <a:pt x="70" y="199"/>
                                    </a:lnTo>
                                    <a:lnTo>
                                      <a:pt x="70" y="199"/>
                                    </a:lnTo>
                                    <a:lnTo>
                                      <a:pt x="69" y="199"/>
                                    </a:lnTo>
                                    <a:lnTo>
                                      <a:pt x="69" y="198"/>
                                    </a:lnTo>
                                    <a:lnTo>
                                      <a:pt x="68" y="197"/>
                                    </a:lnTo>
                                    <a:lnTo>
                                      <a:pt x="68" y="196"/>
                                    </a:lnTo>
                                    <a:lnTo>
                                      <a:pt x="68" y="195"/>
                                    </a:lnTo>
                                    <a:lnTo>
                                      <a:pt x="68" y="194"/>
                                    </a:lnTo>
                                    <a:lnTo>
                                      <a:pt x="68" y="193"/>
                                    </a:lnTo>
                                    <a:lnTo>
                                      <a:pt x="68" y="191"/>
                                    </a:lnTo>
                                    <a:lnTo>
                                      <a:pt x="67" y="190"/>
                                    </a:lnTo>
                                    <a:lnTo>
                                      <a:pt x="65" y="189"/>
                                    </a:lnTo>
                                    <a:lnTo>
                                      <a:pt x="64" y="188"/>
                                    </a:lnTo>
                                    <a:lnTo>
                                      <a:pt x="62" y="187"/>
                                    </a:lnTo>
                                    <a:lnTo>
                                      <a:pt x="59" y="186"/>
                                    </a:lnTo>
                                    <a:lnTo>
                                      <a:pt x="58" y="185"/>
                                    </a:lnTo>
                                    <a:lnTo>
                                      <a:pt x="57" y="184"/>
                                    </a:lnTo>
                                    <a:lnTo>
                                      <a:pt x="55" y="183"/>
                                    </a:lnTo>
                                    <a:lnTo>
                                      <a:pt x="54" y="182"/>
                                    </a:lnTo>
                                    <a:lnTo>
                                      <a:pt x="53" y="181"/>
                                    </a:lnTo>
                                    <a:lnTo>
                                      <a:pt x="52" y="180"/>
                                    </a:lnTo>
                                    <a:lnTo>
                                      <a:pt x="51" y="179"/>
                                    </a:lnTo>
                                    <a:lnTo>
                                      <a:pt x="51" y="178"/>
                                    </a:lnTo>
                                    <a:lnTo>
                                      <a:pt x="50" y="178"/>
                                    </a:lnTo>
                                    <a:lnTo>
                                      <a:pt x="50" y="177"/>
                                    </a:lnTo>
                                    <a:lnTo>
                                      <a:pt x="50" y="176"/>
                                    </a:lnTo>
                                    <a:lnTo>
                                      <a:pt x="50" y="175"/>
                                    </a:lnTo>
                                    <a:lnTo>
                                      <a:pt x="50" y="174"/>
                                    </a:lnTo>
                                    <a:lnTo>
                                      <a:pt x="49" y="173"/>
                                    </a:lnTo>
                                    <a:lnTo>
                                      <a:pt x="49" y="173"/>
                                    </a:lnTo>
                                    <a:lnTo>
                                      <a:pt x="48" y="173"/>
                                    </a:lnTo>
                                    <a:lnTo>
                                      <a:pt x="47" y="173"/>
                                    </a:lnTo>
                                    <a:lnTo>
                                      <a:pt x="46" y="173"/>
                                    </a:lnTo>
                                    <a:lnTo>
                                      <a:pt x="46" y="173"/>
                                    </a:lnTo>
                                    <a:lnTo>
                                      <a:pt x="45" y="173"/>
                                    </a:lnTo>
                                    <a:lnTo>
                                      <a:pt x="45" y="174"/>
                                    </a:lnTo>
                                    <a:lnTo>
                                      <a:pt x="44" y="174"/>
                                    </a:lnTo>
                                    <a:lnTo>
                                      <a:pt x="43" y="174"/>
                                    </a:lnTo>
                                    <a:lnTo>
                                      <a:pt x="43" y="174"/>
                                    </a:lnTo>
                                    <a:lnTo>
                                      <a:pt x="43" y="173"/>
                                    </a:lnTo>
                                    <a:lnTo>
                                      <a:pt x="42" y="173"/>
                                    </a:lnTo>
                                    <a:lnTo>
                                      <a:pt x="42" y="173"/>
                                    </a:lnTo>
                                    <a:lnTo>
                                      <a:pt x="41" y="173"/>
                                    </a:lnTo>
                                    <a:lnTo>
                                      <a:pt x="41" y="172"/>
                                    </a:lnTo>
                                    <a:lnTo>
                                      <a:pt x="40" y="172"/>
                                    </a:lnTo>
                                    <a:lnTo>
                                      <a:pt x="39" y="171"/>
                                    </a:lnTo>
                                    <a:lnTo>
                                      <a:pt x="39" y="170"/>
                                    </a:lnTo>
                                    <a:lnTo>
                                      <a:pt x="39" y="169"/>
                                    </a:lnTo>
                                    <a:lnTo>
                                      <a:pt x="39" y="168"/>
                                    </a:lnTo>
                                    <a:lnTo>
                                      <a:pt x="39" y="167"/>
                                    </a:lnTo>
                                    <a:lnTo>
                                      <a:pt x="39" y="167"/>
                                    </a:lnTo>
                                    <a:lnTo>
                                      <a:pt x="40" y="166"/>
                                    </a:lnTo>
                                    <a:lnTo>
                                      <a:pt x="40" y="164"/>
                                    </a:lnTo>
                                    <a:lnTo>
                                      <a:pt x="40" y="163"/>
                                    </a:lnTo>
                                    <a:lnTo>
                                      <a:pt x="41" y="161"/>
                                    </a:lnTo>
                                    <a:lnTo>
                                      <a:pt x="41" y="161"/>
                                    </a:lnTo>
                                    <a:lnTo>
                                      <a:pt x="41" y="160"/>
                                    </a:lnTo>
                                    <a:lnTo>
                                      <a:pt x="41" y="159"/>
                                    </a:lnTo>
                                    <a:lnTo>
                                      <a:pt x="41" y="158"/>
                                    </a:lnTo>
                                    <a:lnTo>
                                      <a:pt x="42" y="158"/>
                                    </a:lnTo>
                                    <a:lnTo>
                                      <a:pt x="42" y="158"/>
                                    </a:lnTo>
                                    <a:lnTo>
                                      <a:pt x="43" y="158"/>
                                    </a:lnTo>
                                    <a:lnTo>
                                      <a:pt x="43" y="157"/>
                                    </a:lnTo>
                                    <a:lnTo>
                                      <a:pt x="45" y="157"/>
                                    </a:lnTo>
                                    <a:lnTo>
                                      <a:pt x="45" y="156"/>
                                    </a:lnTo>
                                    <a:lnTo>
                                      <a:pt x="46" y="156"/>
                                    </a:lnTo>
                                    <a:lnTo>
                                      <a:pt x="47" y="155"/>
                                    </a:lnTo>
                                    <a:lnTo>
                                      <a:pt x="47" y="154"/>
                                    </a:lnTo>
                                    <a:lnTo>
                                      <a:pt x="48" y="153"/>
                                    </a:lnTo>
                                    <a:lnTo>
                                      <a:pt x="49" y="151"/>
                                    </a:lnTo>
                                    <a:lnTo>
                                      <a:pt x="49" y="150"/>
                                    </a:lnTo>
                                    <a:lnTo>
                                      <a:pt x="50" y="149"/>
                                    </a:lnTo>
                                    <a:lnTo>
                                      <a:pt x="50" y="148"/>
                                    </a:lnTo>
                                    <a:lnTo>
                                      <a:pt x="51" y="147"/>
                                    </a:lnTo>
                                    <a:lnTo>
                                      <a:pt x="52" y="147"/>
                                    </a:lnTo>
                                    <a:lnTo>
                                      <a:pt x="53" y="146"/>
                                    </a:lnTo>
                                    <a:lnTo>
                                      <a:pt x="52" y="144"/>
                                    </a:lnTo>
                                    <a:lnTo>
                                      <a:pt x="52" y="142"/>
                                    </a:lnTo>
                                    <a:lnTo>
                                      <a:pt x="51" y="140"/>
                                    </a:lnTo>
                                    <a:lnTo>
                                      <a:pt x="51" y="138"/>
                                    </a:lnTo>
                                    <a:lnTo>
                                      <a:pt x="50" y="136"/>
                                    </a:lnTo>
                                    <a:lnTo>
                                      <a:pt x="50" y="134"/>
                                    </a:lnTo>
                                    <a:lnTo>
                                      <a:pt x="48" y="130"/>
                                    </a:lnTo>
                                    <a:lnTo>
                                      <a:pt x="47" y="126"/>
                                    </a:lnTo>
                                    <a:lnTo>
                                      <a:pt x="46" y="124"/>
                                    </a:lnTo>
                                    <a:lnTo>
                                      <a:pt x="46" y="122"/>
                                    </a:lnTo>
                                    <a:lnTo>
                                      <a:pt x="45" y="120"/>
                                    </a:lnTo>
                                    <a:lnTo>
                                      <a:pt x="45" y="118"/>
                                    </a:lnTo>
                                    <a:lnTo>
                                      <a:pt x="45" y="115"/>
                                    </a:lnTo>
                                    <a:lnTo>
                                      <a:pt x="45" y="113"/>
                                    </a:lnTo>
                                    <a:lnTo>
                                      <a:pt x="43" y="111"/>
                                    </a:lnTo>
                                    <a:lnTo>
                                      <a:pt x="42" y="109"/>
                                    </a:lnTo>
                                    <a:lnTo>
                                      <a:pt x="40" y="107"/>
                                    </a:lnTo>
                                    <a:lnTo>
                                      <a:pt x="39" y="105"/>
                                    </a:lnTo>
                                    <a:lnTo>
                                      <a:pt x="36" y="102"/>
                                    </a:lnTo>
                                    <a:lnTo>
                                      <a:pt x="33" y="98"/>
                                    </a:lnTo>
                                    <a:lnTo>
                                      <a:pt x="31" y="98"/>
                                    </a:lnTo>
                                    <a:lnTo>
                                      <a:pt x="29" y="98"/>
                                    </a:lnTo>
                                    <a:lnTo>
                                      <a:pt x="28" y="98"/>
                                    </a:lnTo>
                                    <a:lnTo>
                                      <a:pt x="26" y="98"/>
                                    </a:lnTo>
                                    <a:lnTo>
                                      <a:pt x="26" y="97"/>
                                    </a:lnTo>
                                    <a:lnTo>
                                      <a:pt x="25" y="97"/>
                                    </a:lnTo>
                                    <a:lnTo>
                                      <a:pt x="24" y="96"/>
                                    </a:lnTo>
                                    <a:lnTo>
                                      <a:pt x="22" y="95"/>
                                    </a:lnTo>
                                    <a:lnTo>
                                      <a:pt x="21" y="94"/>
                                    </a:lnTo>
                                    <a:lnTo>
                                      <a:pt x="19" y="94"/>
                                    </a:lnTo>
                                    <a:lnTo>
                                      <a:pt x="18" y="93"/>
                                    </a:lnTo>
                                    <a:lnTo>
                                      <a:pt x="16" y="92"/>
                                    </a:lnTo>
                                    <a:lnTo>
                                      <a:pt x="15" y="91"/>
                                    </a:lnTo>
                                    <a:lnTo>
                                      <a:pt x="14" y="91"/>
                                    </a:lnTo>
                                    <a:lnTo>
                                      <a:pt x="14" y="90"/>
                                    </a:lnTo>
                                    <a:lnTo>
                                      <a:pt x="14" y="90"/>
                                    </a:lnTo>
                                    <a:lnTo>
                                      <a:pt x="13" y="89"/>
                                    </a:lnTo>
                                    <a:lnTo>
                                      <a:pt x="13" y="89"/>
                                    </a:lnTo>
                                    <a:lnTo>
                                      <a:pt x="12" y="89"/>
                                    </a:lnTo>
                                    <a:lnTo>
                                      <a:pt x="11" y="88"/>
                                    </a:lnTo>
                                    <a:lnTo>
                                      <a:pt x="9" y="88"/>
                                    </a:lnTo>
                                    <a:lnTo>
                                      <a:pt x="8" y="88"/>
                                    </a:lnTo>
                                    <a:lnTo>
                                      <a:pt x="6" y="88"/>
                                    </a:lnTo>
                                    <a:lnTo>
                                      <a:pt x="5" y="88"/>
                                    </a:lnTo>
                                    <a:lnTo>
                                      <a:pt x="5" y="83"/>
                                    </a:lnTo>
                                    <a:lnTo>
                                      <a:pt x="5" y="83"/>
                                    </a:lnTo>
                                    <a:lnTo>
                                      <a:pt x="5" y="82"/>
                                    </a:lnTo>
                                    <a:lnTo>
                                      <a:pt x="4" y="82"/>
                                    </a:lnTo>
                                    <a:lnTo>
                                      <a:pt x="4" y="82"/>
                                    </a:lnTo>
                                    <a:lnTo>
                                      <a:pt x="4" y="82"/>
                                    </a:lnTo>
                                    <a:lnTo>
                                      <a:pt x="4" y="82"/>
                                    </a:lnTo>
                                    <a:lnTo>
                                      <a:pt x="3" y="82"/>
                                    </a:lnTo>
                                    <a:lnTo>
                                      <a:pt x="3" y="82"/>
                                    </a:lnTo>
                                    <a:lnTo>
                                      <a:pt x="2" y="81"/>
                                    </a:lnTo>
                                    <a:lnTo>
                                      <a:pt x="2" y="81"/>
                                    </a:lnTo>
                                    <a:lnTo>
                                      <a:pt x="1" y="81"/>
                                    </a:lnTo>
                                    <a:lnTo>
                                      <a:pt x="1" y="81"/>
                                    </a:lnTo>
                                    <a:lnTo>
                                      <a:pt x="0" y="80"/>
                                    </a:lnTo>
                                    <a:lnTo>
                                      <a:pt x="0" y="80"/>
                                    </a:lnTo>
                                    <a:lnTo>
                                      <a:pt x="0" y="80"/>
                                    </a:lnTo>
                                    <a:lnTo>
                                      <a:pt x="0" y="79"/>
                                    </a:lnTo>
                                    <a:lnTo>
                                      <a:pt x="0" y="78"/>
                                    </a:lnTo>
                                    <a:lnTo>
                                      <a:pt x="0" y="78"/>
                                    </a:lnTo>
                                    <a:lnTo>
                                      <a:pt x="1" y="78"/>
                                    </a:lnTo>
                                    <a:lnTo>
                                      <a:pt x="1" y="77"/>
                                    </a:lnTo>
                                    <a:lnTo>
                                      <a:pt x="2" y="77"/>
                                    </a:lnTo>
                                    <a:lnTo>
                                      <a:pt x="2" y="77"/>
                                    </a:lnTo>
                                    <a:lnTo>
                                      <a:pt x="3" y="76"/>
                                    </a:lnTo>
                                    <a:lnTo>
                                      <a:pt x="3" y="77"/>
                                    </a:lnTo>
                                    <a:lnTo>
                                      <a:pt x="4" y="76"/>
                                    </a:lnTo>
                                    <a:lnTo>
                                      <a:pt x="4" y="76"/>
                                    </a:lnTo>
                                    <a:lnTo>
                                      <a:pt x="4" y="76"/>
                                    </a:lnTo>
                                    <a:lnTo>
                                      <a:pt x="4" y="76"/>
                                    </a:lnTo>
                                    <a:lnTo>
                                      <a:pt x="4" y="75"/>
                                    </a:lnTo>
                                    <a:lnTo>
                                      <a:pt x="5" y="75"/>
                                    </a:lnTo>
                                    <a:lnTo>
                                      <a:pt x="5" y="75"/>
                                    </a:lnTo>
                                    <a:lnTo>
                                      <a:pt x="5" y="75"/>
                                    </a:lnTo>
                                    <a:lnTo>
                                      <a:pt x="6" y="75"/>
                                    </a:lnTo>
                                    <a:lnTo>
                                      <a:pt x="7" y="75"/>
                                    </a:lnTo>
                                    <a:lnTo>
                                      <a:pt x="8" y="75"/>
                                    </a:lnTo>
                                    <a:lnTo>
                                      <a:pt x="8" y="75"/>
                                    </a:lnTo>
                                    <a:lnTo>
                                      <a:pt x="9" y="75"/>
                                    </a:lnTo>
                                    <a:lnTo>
                                      <a:pt x="9" y="75"/>
                                    </a:lnTo>
                                    <a:lnTo>
                                      <a:pt x="9" y="74"/>
                                    </a:lnTo>
                                    <a:lnTo>
                                      <a:pt x="9" y="74"/>
                                    </a:lnTo>
                                    <a:lnTo>
                                      <a:pt x="9" y="74"/>
                                    </a:lnTo>
                                    <a:lnTo>
                                      <a:pt x="9" y="73"/>
                                    </a:lnTo>
                                    <a:lnTo>
                                      <a:pt x="9" y="73"/>
                                    </a:lnTo>
                                    <a:lnTo>
                                      <a:pt x="10" y="73"/>
                                    </a:lnTo>
                                    <a:lnTo>
                                      <a:pt x="10" y="73"/>
                                    </a:lnTo>
                                    <a:lnTo>
                                      <a:pt x="11" y="73"/>
                                    </a:lnTo>
                                    <a:lnTo>
                                      <a:pt x="11" y="73"/>
                                    </a:lnTo>
                                    <a:lnTo>
                                      <a:pt x="12" y="73"/>
                                    </a:lnTo>
                                    <a:lnTo>
                                      <a:pt x="12" y="73"/>
                                    </a:lnTo>
                                    <a:lnTo>
                                      <a:pt x="13" y="72"/>
                                    </a:lnTo>
                                    <a:lnTo>
                                      <a:pt x="13" y="72"/>
                                    </a:lnTo>
                                    <a:lnTo>
                                      <a:pt x="14" y="72"/>
                                    </a:lnTo>
                                    <a:lnTo>
                                      <a:pt x="14" y="71"/>
                                    </a:lnTo>
                                    <a:lnTo>
                                      <a:pt x="14" y="70"/>
                                    </a:lnTo>
                                    <a:lnTo>
                                      <a:pt x="15" y="70"/>
                                    </a:lnTo>
                                    <a:lnTo>
                                      <a:pt x="15" y="69"/>
                                    </a:lnTo>
                                    <a:lnTo>
                                      <a:pt x="16" y="69"/>
                                    </a:lnTo>
                                    <a:lnTo>
                                      <a:pt x="16" y="69"/>
                                    </a:lnTo>
                                    <a:lnTo>
                                      <a:pt x="17" y="68"/>
                                    </a:lnTo>
                                    <a:lnTo>
                                      <a:pt x="17" y="67"/>
                                    </a:lnTo>
                                    <a:lnTo>
                                      <a:pt x="18" y="67"/>
                                    </a:lnTo>
                                    <a:lnTo>
                                      <a:pt x="18" y="66"/>
                                    </a:lnTo>
                                    <a:lnTo>
                                      <a:pt x="18" y="65"/>
                                    </a:lnTo>
                                    <a:lnTo>
                                      <a:pt x="18" y="64"/>
                                    </a:lnTo>
                                    <a:lnTo>
                                      <a:pt x="18" y="64"/>
                                    </a:lnTo>
                                    <a:lnTo>
                                      <a:pt x="18" y="64"/>
                                    </a:lnTo>
                                    <a:lnTo>
                                      <a:pt x="17" y="64"/>
                                    </a:lnTo>
                                    <a:lnTo>
                                      <a:pt x="17" y="63"/>
                                    </a:lnTo>
                                    <a:lnTo>
                                      <a:pt x="17" y="63"/>
                                    </a:lnTo>
                                    <a:lnTo>
                                      <a:pt x="16" y="63"/>
                                    </a:lnTo>
                                    <a:lnTo>
                                      <a:pt x="16" y="63"/>
                                    </a:lnTo>
                                    <a:lnTo>
                                      <a:pt x="16" y="62"/>
                                    </a:lnTo>
                                    <a:lnTo>
                                      <a:pt x="16" y="62"/>
                                    </a:lnTo>
                                    <a:lnTo>
                                      <a:pt x="16" y="61"/>
                                    </a:lnTo>
                                    <a:lnTo>
                                      <a:pt x="16" y="60"/>
                                    </a:lnTo>
                                    <a:lnTo>
                                      <a:pt x="15" y="60"/>
                                    </a:lnTo>
                                    <a:lnTo>
                                      <a:pt x="15" y="59"/>
                                    </a:lnTo>
                                    <a:lnTo>
                                      <a:pt x="15" y="58"/>
                                    </a:lnTo>
                                    <a:lnTo>
                                      <a:pt x="15" y="58"/>
                                    </a:lnTo>
                                    <a:lnTo>
                                      <a:pt x="15" y="57"/>
                                    </a:lnTo>
                                    <a:lnTo>
                                      <a:pt x="14" y="57"/>
                                    </a:lnTo>
                                    <a:lnTo>
                                      <a:pt x="14" y="57"/>
                                    </a:lnTo>
                                    <a:lnTo>
                                      <a:pt x="14" y="57"/>
                                    </a:lnTo>
                                    <a:lnTo>
                                      <a:pt x="14" y="57"/>
                                    </a:lnTo>
                                    <a:lnTo>
                                      <a:pt x="13" y="56"/>
                                    </a:lnTo>
                                    <a:lnTo>
                                      <a:pt x="13" y="56"/>
                                    </a:lnTo>
                                    <a:lnTo>
                                      <a:pt x="13" y="56"/>
                                    </a:lnTo>
                                    <a:lnTo>
                                      <a:pt x="13" y="55"/>
                                    </a:lnTo>
                                    <a:lnTo>
                                      <a:pt x="14" y="55"/>
                                    </a:lnTo>
                                    <a:lnTo>
                                      <a:pt x="14" y="54"/>
                                    </a:lnTo>
                                    <a:lnTo>
                                      <a:pt x="15" y="53"/>
                                    </a:lnTo>
                                    <a:lnTo>
                                      <a:pt x="16" y="52"/>
                                    </a:lnTo>
                                    <a:lnTo>
                                      <a:pt x="17" y="51"/>
                                    </a:lnTo>
                                    <a:lnTo>
                                      <a:pt x="18" y="51"/>
                                    </a:lnTo>
                                    <a:lnTo>
                                      <a:pt x="18" y="50"/>
                                    </a:lnTo>
                                    <a:lnTo>
                                      <a:pt x="19" y="50"/>
                                    </a:lnTo>
                                    <a:lnTo>
                                      <a:pt x="19" y="49"/>
                                    </a:lnTo>
                                    <a:lnTo>
                                      <a:pt x="19" y="48"/>
                                    </a:lnTo>
                                    <a:lnTo>
                                      <a:pt x="25" y="48"/>
                                    </a:lnTo>
                                    <a:lnTo>
                                      <a:pt x="24" y="49"/>
                                    </a:lnTo>
                                    <a:lnTo>
                                      <a:pt x="24" y="49"/>
                                    </a:lnTo>
                                    <a:lnTo>
                                      <a:pt x="25" y="49"/>
                                    </a:lnTo>
                                    <a:lnTo>
                                      <a:pt x="25" y="50"/>
                                    </a:lnTo>
                                    <a:lnTo>
                                      <a:pt x="25" y="50"/>
                                    </a:lnTo>
                                    <a:lnTo>
                                      <a:pt x="25" y="50"/>
                                    </a:lnTo>
                                    <a:lnTo>
                                      <a:pt x="26" y="50"/>
                                    </a:lnTo>
                                    <a:lnTo>
                                      <a:pt x="26" y="50"/>
                                    </a:lnTo>
                                    <a:lnTo>
                                      <a:pt x="36" y="50"/>
                                    </a:lnTo>
                                    <a:lnTo>
                                      <a:pt x="37" y="50"/>
                                    </a:lnTo>
                                    <a:lnTo>
                                      <a:pt x="37" y="50"/>
                                    </a:lnTo>
                                    <a:lnTo>
                                      <a:pt x="37" y="50"/>
                                    </a:lnTo>
                                    <a:lnTo>
                                      <a:pt x="37" y="50"/>
                                    </a:lnTo>
                                    <a:lnTo>
                                      <a:pt x="38" y="49"/>
                                    </a:lnTo>
                                    <a:lnTo>
                                      <a:pt x="38" y="49"/>
                                    </a:lnTo>
                                    <a:lnTo>
                                      <a:pt x="38" y="49"/>
                                    </a:lnTo>
                                    <a:lnTo>
                                      <a:pt x="38" y="48"/>
                                    </a:lnTo>
                                    <a:lnTo>
                                      <a:pt x="38" y="48"/>
                                    </a:lnTo>
                                    <a:lnTo>
                                      <a:pt x="38" y="48"/>
                                    </a:lnTo>
                                    <a:lnTo>
                                      <a:pt x="39" y="48"/>
                                    </a:lnTo>
                                    <a:lnTo>
                                      <a:pt x="39" y="48"/>
                                    </a:lnTo>
                                    <a:lnTo>
                                      <a:pt x="39" y="47"/>
                                    </a:lnTo>
                                    <a:lnTo>
                                      <a:pt x="39" y="47"/>
                                    </a:lnTo>
                                    <a:lnTo>
                                      <a:pt x="39" y="46"/>
                                    </a:lnTo>
                                    <a:lnTo>
                                      <a:pt x="39" y="45"/>
                                    </a:lnTo>
                                    <a:lnTo>
                                      <a:pt x="39" y="44"/>
                                    </a:lnTo>
                                    <a:lnTo>
                                      <a:pt x="39" y="43"/>
                                    </a:lnTo>
                                    <a:lnTo>
                                      <a:pt x="40" y="43"/>
                                    </a:lnTo>
                                    <a:lnTo>
                                      <a:pt x="39" y="42"/>
                                    </a:lnTo>
                                    <a:lnTo>
                                      <a:pt x="39" y="42"/>
                                    </a:lnTo>
                                    <a:lnTo>
                                      <a:pt x="39" y="42"/>
                                    </a:lnTo>
                                    <a:lnTo>
                                      <a:pt x="39" y="42"/>
                                    </a:lnTo>
                                    <a:lnTo>
                                      <a:pt x="38" y="42"/>
                                    </a:lnTo>
                                    <a:lnTo>
                                      <a:pt x="38" y="42"/>
                                    </a:lnTo>
                                    <a:lnTo>
                                      <a:pt x="38" y="42"/>
                                    </a:lnTo>
                                    <a:lnTo>
                                      <a:pt x="37" y="42"/>
                                    </a:lnTo>
                                    <a:lnTo>
                                      <a:pt x="37" y="42"/>
                                    </a:lnTo>
                                    <a:lnTo>
                                      <a:pt x="37" y="42"/>
                                    </a:lnTo>
                                    <a:lnTo>
                                      <a:pt x="36" y="42"/>
                                    </a:lnTo>
                                    <a:lnTo>
                                      <a:pt x="36" y="41"/>
                                    </a:lnTo>
                                    <a:lnTo>
                                      <a:pt x="36" y="41"/>
                                    </a:lnTo>
                                    <a:lnTo>
                                      <a:pt x="36" y="40"/>
                                    </a:lnTo>
                                    <a:lnTo>
                                      <a:pt x="36" y="40"/>
                                    </a:lnTo>
                                    <a:lnTo>
                                      <a:pt x="36" y="40"/>
                                    </a:lnTo>
                                    <a:lnTo>
                                      <a:pt x="35" y="40"/>
                                    </a:lnTo>
                                    <a:lnTo>
                                      <a:pt x="35" y="40"/>
                                    </a:lnTo>
                                    <a:lnTo>
                                      <a:pt x="35" y="40"/>
                                    </a:lnTo>
                                    <a:lnTo>
                                      <a:pt x="34" y="40"/>
                                    </a:lnTo>
                                    <a:lnTo>
                                      <a:pt x="33" y="40"/>
                                    </a:lnTo>
                                    <a:lnTo>
                                      <a:pt x="33" y="40"/>
                                    </a:lnTo>
                                    <a:lnTo>
                                      <a:pt x="32" y="40"/>
                                    </a:lnTo>
                                    <a:lnTo>
                                      <a:pt x="32" y="39"/>
                                    </a:lnTo>
                                    <a:lnTo>
                                      <a:pt x="31" y="39"/>
                                    </a:lnTo>
                                    <a:lnTo>
                                      <a:pt x="30" y="39"/>
                                    </a:lnTo>
                                    <a:lnTo>
                                      <a:pt x="30" y="38"/>
                                    </a:lnTo>
                                    <a:lnTo>
                                      <a:pt x="29" y="38"/>
                                    </a:lnTo>
                                    <a:lnTo>
                                      <a:pt x="29" y="38"/>
                                    </a:lnTo>
                                    <a:lnTo>
                                      <a:pt x="28" y="38"/>
                                    </a:lnTo>
                                    <a:lnTo>
                                      <a:pt x="28" y="38"/>
                                    </a:lnTo>
                                    <a:lnTo>
                                      <a:pt x="28" y="38"/>
                                    </a:lnTo>
                                    <a:lnTo>
                                      <a:pt x="28" y="37"/>
                                    </a:lnTo>
                                    <a:lnTo>
                                      <a:pt x="28" y="37"/>
                                    </a:lnTo>
                                    <a:lnTo>
                                      <a:pt x="27" y="37"/>
                                    </a:lnTo>
                                    <a:lnTo>
                                      <a:pt x="27" y="37"/>
                                    </a:lnTo>
                                    <a:lnTo>
                                      <a:pt x="27" y="37"/>
                                    </a:lnTo>
                                    <a:lnTo>
                                      <a:pt x="26" y="37"/>
                                    </a:lnTo>
                                    <a:lnTo>
                                      <a:pt x="26" y="37"/>
                                    </a:lnTo>
                                    <a:lnTo>
                                      <a:pt x="26" y="36"/>
                                    </a:lnTo>
                                    <a:lnTo>
                                      <a:pt x="25" y="36"/>
                                    </a:lnTo>
                                    <a:lnTo>
                                      <a:pt x="25" y="36"/>
                                    </a:lnTo>
                                    <a:lnTo>
                                      <a:pt x="24" y="36"/>
                                    </a:lnTo>
                                    <a:lnTo>
                                      <a:pt x="24" y="36"/>
                                    </a:lnTo>
                                    <a:lnTo>
                                      <a:pt x="23" y="36"/>
                                    </a:lnTo>
                                    <a:lnTo>
                                      <a:pt x="23" y="35"/>
                                    </a:lnTo>
                                    <a:lnTo>
                                      <a:pt x="23" y="35"/>
                                    </a:lnTo>
                                    <a:lnTo>
                                      <a:pt x="23" y="35"/>
                                    </a:lnTo>
                                    <a:lnTo>
                                      <a:pt x="24" y="35"/>
                                    </a:lnTo>
                                    <a:lnTo>
                                      <a:pt x="26" y="34"/>
                                    </a:lnTo>
                                    <a:lnTo>
                                      <a:pt x="27" y="34"/>
                                    </a:lnTo>
                                    <a:lnTo>
                                      <a:pt x="28" y="33"/>
                                    </a:lnTo>
                                    <a:lnTo>
                                      <a:pt x="29" y="33"/>
                                    </a:lnTo>
                                    <a:lnTo>
                                      <a:pt x="30" y="32"/>
                                    </a:lnTo>
                                    <a:lnTo>
                                      <a:pt x="30" y="32"/>
                                    </a:lnTo>
                                    <a:lnTo>
                                      <a:pt x="31" y="31"/>
                                    </a:lnTo>
                                    <a:lnTo>
                                      <a:pt x="31" y="30"/>
                                    </a:lnTo>
                                    <a:lnTo>
                                      <a:pt x="31" y="30"/>
                                    </a:lnTo>
                                    <a:lnTo>
                                      <a:pt x="31" y="29"/>
                                    </a:lnTo>
                                    <a:lnTo>
                                      <a:pt x="31" y="29"/>
                                    </a:lnTo>
                                    <a:lnTo>
                                      <a:pt x="31" y="29"/>
                                    </a:lnTo>
                                    <a:lnTo>
                                      <a:pt x="31" y="29"/>
                                    </a:lnTo>
                                    <a:lnTo>
                                      <a:pt x="30" y="28"/>
                                    </a:lnTo>
                                    <a:lnTo>
                                      <a:pt x="30" y="28"/>
                                    </a:lnTo>
                                    <a:lnTo>
                                      <a:pt x="30" y="28"/>
                                    </a:lnTo>
                                    <a:lnTo>
                                      <a:pt x="29" y="28"/>
                                    </a:lnTo>
                                    <a:lnTo>
                                      <a:pt x="29" y="28"/>
                                    </a:lnTo>
                                    <a:lnTo>
                                      <a:pt x="29" y="28"/>
                                    </a:lnTo>
                                    <a:lnTo>
                                      <a:pt x="28" y="28"/>
                                    </a:lnTo>
                                    <a:lnTo>
                                      <a:pt x="28" y="28"/>
                                    </a:lnTo>
                                    <a:lnTo>
                                      <a:pt x="28" y="28"/>
                                    </a:lnTo>
                                    <a:lnTo>
                                      <a:pt x="28" y="28"/>
                                    </a:lnTo>
                                    <a:lnTo>
                                      <a:pt x="27" y="27"/>
                                    </a:lnTo>
                                    <a:lnTo>
                                      <a:pt x="27" y="27"/>
                                    </a:lnTo>
                                    <a:lnTo>
                                      <a:pt x="27" y="27"/>
                                    </a:lnTo>
                                    <a:lnTo>
                                      <a:pt x="27" y="27"/>
                                    </a:lnTo>
                                    <a:lnTo>
                                      <a:pt x="26" y="27"/>
                                    </a:lnTo>
                                    <a:lnTo>
                                      <a:pt x="25" y="27"/>
                                    </a:lnTo>
                                    <a:lnTo>
                                      <a:pt x="24" y="27"/>
                                    </a:lnTo>
                                    <a:lnTo>
                                      <a:pt x="24" y="27"/>
                                    </a:lnTo>
                                    <a:lnTo>
                                      <a:pt x="23" y="27"/>
                                    </a:lnTo>
                                    <a:lnTo>
                                      <a:pt x="22" y="27"/>
                                    </a:lnTo>
                                    <a:lnTo>
                                      <a:pt x="22" y="27"/>
                                    </a:lnTo>
                                    <a:lnTo>
                                      <a:pt x="22" y="26"/>
                                    </a:lnTo>
                                    <a:lnTo>
                                      <a:pt x="21" y="26"/>
                                    </a:lnTo>
                                    <a:lnTo>
                                      <a:pt x="21" y="26"/>
                                    </a:lnTo>
                                    <a:lnTo>
                                      <a:pt x="21" y="26"/>
                                    </a:lnTo>
                                    <a:lnTo>
                                      <a:pt x="21" y="25"/>
                                    </a:lnTo>
                                    <a:lnTo>
                                      <a:pt x="21" y="25"/>
                                    </a:lnTo>
                                    <a:lnTo>
                                      <a:pt x="22" y="25"/>
                                    </a:lnTo>
                                    <a:lnTo>
                                      <a:pt x="22" y="25"/>
                                    </a:lnTo>
                                    <a:lnTo>
                                      <a:pt x="22" y="25"/>
                                    </a:lnTo>
                                    <a:lnTo>
                                      <a:pt x="23" y="25"/>
                                    </a:lnTo>
                                    <a:lnTo>
                                      <a:pt x="23" y="24"/>
                                    </a:lnTo>
                                    <a:lnTo>
                                      <a:pt x="23" y="24"/>
                                    </a:lnTo>
                                    <a:lnTo>
                                      <a:pt x="23" y="24"/>
                                    </a:lnTo>
                                    <a:lnTo>
                                      <a:pt x="23" y="23"/>
                                    </a:lnTo>
                                    <a:lnTo>
                                      <a:pt x="23" y="23"/>
                                    </a:lnTo>
                                    <a:lnTo>
                                      <a:pt x="23" y="23"/>
                                    </a:lnTo>
                                    <a:lnTo>
                                      <a:pt x="23" y="22"/>
                                    </a:lnTo>
                                    <a:lnTo>
                                      <a:pt x="23" y="22"/>
                                    </a:lnTo>
                                    <a:lnTo>
                                      <a:pt x="23" y="21"/>
                                    </a:lnTo>
                                    <a:lnTo>
                                      <a:pt x="23" y="21"/>
                                    </a:lnTo>
                                    <a:lnTo>
                                      <a:pt x="24" y="21"/>
                                    </a:lnTo>
                                    <a:lnTo>
                                      <a:pt x="24" y="21"/>
                                    </a:lnTo>
                                    <a:lnTo>
                                      <a:pt x="24" y="21"/>
                                    </a:lnTo>
                                    <a:lnTo>
                                      <a:pt x="24" y="21"/>
                                    </a:lnTo>
                                    <a:lnTo>
                                      <a:pt x="24" y="21"/>
                                    </a:lnTo>
                                    <a:lnTo>
                                      <a:pt x="24" y="20"/>
                                    </a:lnTo>
                                    <a:lnTo>
                                      <a:pt x="23" y="20"/>
                                    </a:lnTo>
                                    <a:lnTo>
                                      <a:pt x="23" y="20"/>
                                    </a:lnTo>
                                    <a:lnTo>
                                      <a:pt x="23" y="20"/>
                                    </a:lnTo>
                                    <a:lnTo>
                                      <a:pt x="23" y="20"/>
                                    </a:lnTo>
                                    <a:lnTo>
                                      <a:pt x="23" y="19"/>
                                    </a:lnTo>
                                    <a:lnTo>
                                      <a:pt x="23" y="19"/>
                                    </a:lnTo>
                                    <a:lnTo>
                                      <a:pt x="22" y="18"/>
                                    </a:lnTo>
                                    <a:lnTo>
                                      <a:pt x="22" y="18"/>
                                    </a:lnTo>
                                    <a:lnTo>
                                      <a:pt x="22" y="18"/>
                                    </a:lnTo>
                                    <a:lnTo>
                                      <a:pt x="22" y="17"/>
                                    </a:lnTo>
                                    <a:lnTo>
                                      <a:pt x="22" y="17"/>
                                    </a:lnTo>
                                    <a:lnTo>
                                      <a:pt x="22" y="17"/>
                                    </a:lnTo>
                                    <a:lnTo>
                                      <a:pt x="22" y="17"/>
                                    </a:lnTo>
                                    <a:lnTo>
                                      <a:pt x="22" y="17"/>
                                    </a:lnTo>
                                    <a:lnTo>
                                      <a:pt x="22" y="17"/>
                                    </a:lnTo>
                                    <a:lnTo>
                                      <a:pt x="23" y="17"/>
                                    </a:lnTo>
                                    <a:lnTo>
                                      <a:pt x="28" y="17"/>
                                    </a:lnTo>
                                    <a:lnTo>
                                      <a:pt x="28" y="17"/>
                                    </a:lnTo>
                                    <a:lnTo>
                                      <a:pt x="29" y="17"/>
                                    </a:lnTo>
                                    <a:lnTo>
                                      <a:pt x="29" y="17"/>
                                    </a:lnTo>
                                    <a:lnTo>
                                      <a:pt x="29" y="17"/>
                                    </a:lnTo>
                                    <a:lnTo>
                                      <a:pt x="29" y="17"/>
                                    </a:lnTo>
                                    <a:lnTo>
                                      <a:pt x="29" y="17"/>
                                    </a:lnTo>
                                    <a:lnTo>
                                      <a:pt x="29" y="18"/>
                                    </a:lnTo>
                                    <a:lnTo>
                                      <a:pt x="30" y="18"/>
                                    </a:lnTo>
                                    <a:lnTo>
                                      <a:pt x="30" y="18"/>
                                    </a:lnTo>
                                    <a:lnTo>
                                      <a:pt x="30" y="18"/>
                                    </a:lnTo>
                                    <a:lnTo>
                                      <a:pt x="31" y="18"/>
                                    </a:lnTo>
                                    <a:lnTo>
                                      <a:pt x="31" y="18"/>
                                    </a:lnTo>
                                    <a:lnTo>
                                      <a:pt x="35" y="18"/>
                                    </a:lnTo>
                                    <a:lnTo>
                                      <a:pt x="39" y="18"/>
                                    </a:lnTo>
                                    <a:lnTo>
                                      <a:pt x="44" y="18"/>
                                    </a:lnTo>
                                    <a:lnTo>
                                      <a:pt x="48" y="18"/>
                                    </a:lnTo>
                                    <a:lnTo>
                                      <a:pt x="49" y="18"/>
                                    </a:lnTo>
                                    <a:lnTo>
                                      <a:pt x="50" y="18"/>
                                    </a:lnTo>
                                    <a:lnTo>
                                      <a:pt x="51" y="18"/>
                                    </a:lnTo>
                                    <a:lnTo>
                                      <a:pt x="52" y="18"/>
                                    </a:lnTo>
                                    <a:lnTo>
                                      <a:pt x="53" y="18"/>
                                    </a:lnTo>
                                    <a:lnTo>
                                      <a:pt x="53" y="18"/>
                                    </a:lnTo>
                                    <a:lnTo>
                                      <a:pt x="54" y="18"/>
                                    </a:lnTo>
                                    <a:lnTo>
                                      <a:pt x="54" y="18"/>
                                    </a:lnTo>
                                    <a:lnTo>
                                      <a:pt x="54" y="17"/>
                                    </a:lnTo>
                                    <a:lnTo>
                                      <a:pt x="54" y="17"/>
                                    </a:lnTo>
                                    <a:lnTo>
                                      <a:pt x="54" y="17"/>
                                    </a:lnTo>
                                    <a:lnTo>
                                      <a:pt x="56" y="17"/>
                                    </a:lnTo>
                                    <a:lnTo>
                                      <a:pt x="56" y="17"/>
                                    </a:lnTo>
                                    <a:lnTo>
                                      <a:pt x="57" y="17"/>
                                    </a:lnTo>
                                    <a:lnTo>
                                      <a:pt x="58" y="17"/>
                                    </a:lnTo>
                                    <a:lnTo>
                                      <a:pt x="59" y="17"/>
                                    </a:lnTo>
                                    <a:lnTo>
                                      <a:pt x="59" y="16"/>
                                    </a:lnTo>
                                    <a:lnTo>
                                      <a:pt x="60" y="16"/>
                                    </a:lnTo>
                                    <a:lnTo>
                                      <a:pt x="62" y="15"/>
                                    </a:lnTo>
                                    <a:lnTo>
                                      <a:pt x="62" y="15"/>
                                    </a:lnTo>
                                    <a:lnTo>
                                      <a:pt x="63" y="15"/>
                                    </a:lnTo>
                                    <a:lnTo>
                                      <a:pt x="63" y="15"/>
                                    </a:lnTo>
                                    <a:lnTo>
                                      <a:pt x="64" y="15"/>
                                    </a:lnTo>
                                    <a:lnTo>
                                      <a:pt x="65" y="15"/>
                                    </a:lnTo>
                                    <a:lnTo>
                                      <a:pt x="66" y="15"/>
                                    </a:lnTo>
                                    <a:lnTo>
                                      <a:pt x="67" y="15"/>
                                    </a:lnTo>
                                    <a:lnTo>
                                      <a:pt x="67" y="15"/>
                                    </a:lnTo>
                                    <a:lnTo>
                                      <a:pt x="67" y="15"/>
                                    </a:lnTo>
                                    <a:lnTo>
                                      <a:pt x="67" y="15"/>
                                    </a:lnTo>
                                    <a:lnTo>
                                      <a:pt x="68" y="14"/>
                                    </a:lnTo>
                                    <a:lnTo>
                                      <a:pt x="68" y="14"/>
                                    </a:lnTo>
                                    <a:lnTo>
                                      <a:pt x="68" y="14"/>
                                    </a:lnTo>
                                    <a:lnTo>
                                      <a:pt x="68" y="13"/>
                                    </a:lnTo>
                                    <a:lnTo>
                                      <a:pt x="69" y="13"/>
                                    </a:lnTo>
                                    <a:lnTo>
                                      <a:pt x="69" y="14"/>
                                    </a:lnTo>
                                    <a:lnTo>
                                      <a:pt x="70" y="14"/>
                                    </a:lnTo>
                                    <a:lnTo>
                                      <a:pt x="71" y="14"/>
                                    </a:lnTo>
                                    <a:lnTo>
                                      <a:pt x="72" y="13"/>
                                    </a:lnTo>
                                    <a:lnTo>
                                      <a:pt x="73" y="13"/>
                                    </a:lnTo>
                                    <a:lnTo>
                                      <a:pt x="74" y="13"/>
                                    </a:lnTo>
                                    <a:lnTo>
                                      <a:pt x="75" y="12"/>
                                    </a:lnTo>
                                    <a:lnTo>
                                      <a:pt x="75" y="12"/>
                                    </a:lnTo>
                                    <a:lnTo>
                                      <a:pt x="77" y="11"/>
                                    </a:lnTo>
                                    <a:lnTo>
                                      <a:pt x="78" y="11"/>
                                    </a:lnTo>
                                    <a:lnTo>
                                      <a:pt x="79" y="10"/>
                                    </a:lnTo>
                                    <a:lnTo>
                                      <a:pt x="79" y="10"/>
                                    </a:lnTo>
                                    <a:lnTo>
                                      <a:pt x="80" y="10"/>
                                    </a:lnTo>
                                    <a:lnTo>
                                      <a:pt x="82" y="10"/>
                                    </a:lnTo>
                                    <a:lnTo>
                                      <a:pt x="83" y="10"/>
                                    </a:lnTo>
                                    <a:lnTo>
                                      <a:pt x="83" y="10"/>
                                    </a:lnTo>
                                    <a:lnTo>
                                      <a:pt x="83" y="11"/>
                                    </a:lnTo>
                                    <a:lnTo>
                                      <a:pt x="83" y="11"/>
                                    </a:lnTo>
                                    <a:lnTo>
                                      <a:pt x="83" y="11"/>
                                    </a:lnTo>
                                    <a:lnTo>
                                      <a:pt x="84" y="11"/>
                                    </a:lnTo>
                                    <a:lnTo>
                                      <a:pt x="84" y="11"/>
                                    </a:lnTo>
                                    <a:lnTo>
                                      <a:pt x="85" y="11"/>
                                    </a:lnTo>
                                    <a:lnTo>
                                      <a:pt x="85" y="12"/>
                                    </a:lnTo>
                                    <a:lnTo>
                                      <a:pt x="86" y="12"/>
                                    </a:lnTo>
                                    <a:lnTo>
                                      <a:pt x="87" y="12"/>
                                    </a:lnTo>
                                    <a:lnTo>
                                      <a:pt x="88" y="12"/>
                                    </a:lnTo>
                                    <a:lnTo>
                                      <a:pt x="90" y="12"/>
                                    </a:lnTo>
                                    <a:lnTo>
                                      <a:pt x="92" y="12"/>
                                    </a:lnTo>
                                    <a:lnTo>
                                      <a:pt x="94" y="12"/>
                                    </a:lnTo>
                                    <a:lnTo>
                                      <a:pt x="96" y="12"/>
                                    </a:lnTo>
                                    <a:lnTo>
                                      <a:pt x="97" y="12"/>
                                    </a:lnTo>
                                    <a:lnTo>
                                      <a:pt x="97" y="12"/>
                                    </a:lnTo>
                                    <a:lnTo>
                                      <a:pt x="97" y="12"/>
                                    </a:lnTo>
                                    <a:lnTo>
                                      <a:pt x="97" y="11"/>
                                    </a:lnTo>
                                    <a:lnTo>
                                      <a:pt x="98" y="11"/>
                                    </a:lnTo>
                                    <a:lnTo>
                                      <a:pt x="98" y="11"/>
                                    </a:lnTo>
                                    <a:lnTo>
                                      <a:pt x="98" y="10"/>
                                    </a:lnTo>
                                    <a:lnTo>
                                      <a:pt x="98" y="10"/>
                                    </a:lnTo>
                                    <a:lnTo>
                                      <a:pt x="98" y="10"/>
                                    </a:lnTo>
                                    <a:lnTo>
                                      <a:pt x="99" y="10"/>
                                    </a:lnTo>
                                    <a:lnTo>
                                      <a:pt x="99" y="10"/>
                                    </a:lnTo>
                                    <a:lnTo>
                                      <a:pt x="99" y="10"/>
                                    </a:lnTo>
                                    <a:lnTo>
                                      <a:pt x="99" y="9"/>
                                    </a:lnTo>
                                    <a:lnTo>
                                      <a:pt x="99" y="9"/>
                                    </a:lnTo>
                                    <a:lnTo>
                                      <a:pt x="99" y="9"/>
                                    </a:lnTo>
                                    <a:lnTo>
                                      <a:pt x="99" y="8"/>
                                    </a:lnTo>
                                    <a:lnTo>
                                      <a:pt x="99" y="7"/>
                                    </a:lnTo>
                                    <a:lnTo>
                                      <a:pt x="99" y="7"/>
                                    </a:lnTo>
                                    <a:lnTo>
                                      <a:pt x="99" y="6"/>
                                    </a:lnTo>
                                    <a:lnTo>
                                      <a:pt x="99" y="5"/>
                                    </a:lnTo>
                                    <a:lnTo>
                                      <a:pt x="100" y="5"/>
                                    </a:lnTo>
                                    <a:lnTo>
                                      <a:pt x="100" y="5"/>
                                    </a:lnTo>
                                    <a:lnTo>
                                      <a:pt x="101" y="5"/>
                                    </a:lnTo>
                                    <a:lnTo>
                                      <a:pt x="101" y="5"/>
                                    </a:lnTo>
                                    <a:lnTo>
                                      <a:pt x="101" y="4"/>
                                    </a:lnTo>
                                    <a:lnTo>
                                      <a:pt x="101" y="4"/>
                                    </a:lnTo>
                                    <a:lnTo>
                                      <a:pt x="101" y="4"/>
                                    </a:lnTo>
                                    <a:lnTo>
                                      <a:pt x="101" y="3"/>
                                    </a:lnTo>
                                    <a:lnTo>
                                      <a:pt x="102" y="3"/>
                                    </a:lnTo>
                                    <a:lnTo>
                                      <a:pt x="102" y="3"/>
                                    </a:lnTo>
                                    <a:lnTo>
                                      <a:pt x="102" y="3"/>
                                    </a:lnTo>
                                    <a:lnTo>
                                      <a:pt x="103" y="3"/>
                                    </a:lnTo>
                                    <a:lnTo>
                                      <a:pt x="103" y="3"/>
                                    </a:lnTo>
                                    <a:lnTo>
                                      <a:pt x="104" y="3"/>
                                    </a:lnTo>
                                    <a:lnTo>
                                      <a:pt x="104" y="3"/>
                                    </a:lnTo>
                                    <a:lnTo>
                                      <a:pt x="104" y="3"/>
                                    </a:lnTo>
                                    <a:lnTo>
                                      <a:pt x="104" y="3"/>
                                    </a:lnTo>
                                    <a:lnTo>
                                      <a:pt x="104" y="2"/>
                                    </a:lnTo>
                                    <a:lnTo>
                                      <a:pt x="104" y="2"/>
                                    </a:lnTo>
                                    <a:lnTo>
                                      <a:pt x="104" y="2"/>
                                    </a:lnTo>
                                    <a:lnTo>
                                      <a:pt x="105" y="2"/>
                                    </a:lnTo>
                                    <a:lnTo>
                                      <a:pt x="106" y="2"/>
                                    </a:lnTo>
                                    <a:lnTo>
                                      <a:pt x="107" y="2"/>
                                    </a:lnTo>
                                    <a:lnTo>
                                      <a:pt x="108" y="2"/>
                                    </a:lnTo>
                                    <a:lnTo>
                                      <a:pt x="108" y="2"/>
                                    </a:lnTo>
                                    <a:lnTo>
                                      <a:pt x="108" y="2"/>
                                    </a:lnTo>
                                    <a:lnTo>
                                      <a:pt x="109" y="1"/>
                                    </a:lnTo>
                                    <a:lnTo>
                                      <a:pt x="109" y="1"/>
                                    </a:lnTo>
                                    <a:lnTo>
                                      <a:pt x="109" y="1"/>
                                    </a:lnTo>
                                    <a:lnTo>
                                      <a:pt x="109" y="1"/>
                                    </a:lnTo>
                                    <a:lnTo>
                                      <a:pt x="109" y="0"/>
                                    </a:lnTo>
                                    <a:lnTo>
                                      <a:pt x="109" y="0"/>
                                    </a:lnTo>
                                    <a:lnTo>
                                      <a:pt x="109" y="0"/>
                                    </a:lnTo>
                                    <a:moveTo>
                                      <a:pt x="11" y="85"/>
                                    </a:moveTo>
                                    <a:lnTo>
                                      <a:pt x="11" y="85"/>
                                    </a:lnTo>
                                    <a:lnTo>
                                      <a:pt x="11" y="85"/>
                                    </a:lnTo>
                                    <a:lnTo>
                                      <a:pt x="10" y="85"/>
                                    </a:lnTo>
                                    <a:lnTo>
                                      <a:pt x="10" y="85"/>
                                    </a:lnTo>
                                    <a:lnTo>
                                      <a:pt x="9" y="85"/>
                                    </a:lnTo>
                                    <a:lnTo>
                                      <a:pt x="9" y="86"/>
                                    </a:lnTo>
                                    <a:lnTo>
                                      <a:pt x="9" y="86"/>
                                    </a:lnTo>
                                    <a:lnTo>
                                      <a:pt x="9" y="86"/>
                                    </a:lnTo>
                                    <a:lnTo>
                                      <a:pt x="9" y="86"/>
                                    </a:lnTo>
                                    <a:lnTo>
                                      <a:pt x="9" y="86"/>
                                    </a:lnTo>
                                    <a:lnTo>
                                      <a:pt x="10" y="87"/>
                                    </a:lnTo>
                                    <a:lnTo>
                                      <a:pt x="10" y="86"/>
                                    </a:lnTo>
                                    <a:lnTo>
                                      <a:pt x="10" y="86"/>
                                    </a:lnTo>
                                    <a:lnTo>
                                      <a:pt x="11" y="86"/>
                                    </a:lnTo>
                                    <a:lnTo>
                                      <a:pt x="11" y="86"/>
                                    </a:lnTo>
                                    <a:lnTo>
                                      <a:pt x="11" y="85"/>
                                    </a:lnTo>
                                    <a:lnTo>
                                      <a:pt x="11" y="85"/>
                                    </a:lnTo>
                                    <a:lnTo>
                                      <a:pt x="11" y="85"/>
                                    </a:lnTo>
                                    <a:lnTo>
                                      <a:pt x="11" y="85"/>
                                    </a:lnTo>
                                    <a:lnTo>
                                      <a:pt x="11" y="85"/>
                                    </a:lnTo>
                                    <a:lnTo>
                                      <a:pt x="11" y="85"/>
                                    </a:lnTo>
                                  </a:path>
                                </a:pathLst>
                              </a:custGeom>
                              <a:solidFill>
                                <a:schemeClr val="accent1">
                                  <a:lumMod val="40000"/>
                                  <a:lumOff val="60000"/>
                                </a:schemeClr>
                              </a:solidFill>
                              <a:ln w="9525">
                                <a:solidFill>
                                  <a:srgbClr val="9DC3E6"/>
                                </a:solidFill>
                              </a:ln>
                            </p:spPr>
                            <p:style>
                              <a:lnRef idx="2">
                                <a:schemeClr val="accent1">
                                  <a:shade val="50000"/>
                                </a:schemeClr>
                              </a:lnRef>
                              <a:fillRef idx="1">
                                <a:schemeClr val="accent1"/>
                              </a:fillRef>
                              <a:effectRef idx="0">
                                <a:schemeClr val="accent1"/>
                              </a:effectRef>
                              <a:fontRef idx="minor">
                                <a:schemeClr val="lt1"/>
                              </a:fontRef>
                            </p:style>
                            <p:txBody>
                              <a:bodyPr lIns="104000" tIns="104000" rIns="104000" bIns="104000" anchor="ctr"/>
                              <a:lstStyle/>
                              <a:p>
                                <a:pPr algn="ctr" defTabSz="457200">
                                  <a:lnSpc>
                                    <a:spcPct val="90000"/>
                                  </a:lnSpc>
                                  <a:buClr>
                                    <a:srgbClr val="0563C1"/>
                                  </a:buClr>
                                  <a:buSzPct val="110000"/>
                                  <a:defRPr/>
                                </a:pPr>
                                <a:endParaRPr lang="en-US" sz="1050" dirty="0">
                                  <a:solidFill>
                                    <a:prstClr val="white"/>
                                  </a:solidFill>
                                </a:endParaRPr>
                              </a:p>
                            </p:txBody>
                          </p:sp>
                          <p:sp>
                            <p:nvSpPr>
                              <p:cNvPr id="134" name="Freeform 4"/>
                              <p:cNvSpPr>
                                <a:spLocks/>
                              </p:cNvSpPr>
                              <p:nvPr/>
                            </p:nvSpPr>
                            <p:spPr bwMode="auto">
                              <a:xfrm>
                                <a:off x="4131665" y="1864777"/>
                                <a:ext cx="1647422" cy="1207402"/>
                              </a:xfrm>
                              <a:custGeom>
                                <a:avLst/>
                                <a:gdLst/>
                                <a:ahLst/>
                                <a:cxnLst>
                                  <a:cxn ang="0">
                                    <a:pos x="81" y="1"/>
                                  </a:cxn>
                                  <a:cxn ang="0">
                                    <a:pos x="88" y="6"/>
                                  </a:cxn>
                                  <a:cxn ang="0">
                                    <a:pos x="92" y="10"/>
                                  </a:cxn>
                                  <a:cxn ang="0">
                                    <a:pos x="93" y="9"/>
                                  </a:cxn>
                                  <a:cxn ang="0">
                                    <a:pos x="113" y="11"/>
                                  </a:cxn>
                                  <a:cxn ang="0">
                                    <a:pos x="118" y="15"/>
                                  </a:cxn>
                                  <a:cxn ang="0">
                                    <a:pos x="123" y="21"/>
                                  </a:cxn>
                                  <a:cxn ang="0">
                                    <a:pos x="128" y="19"/>
                                  </a:cxn>
                                  <a:cxn ang="0">
                                    <a:pos x="136" y="19"/>
                                  </a:cxn>
                                  <a:cxn ang="0">
                                    <a:pos x="143" y="24"/>
                                  </a:cxn>
                                  <a:cxn ang="0">
                                    <a:pos x="152" y="25"/>
                                  </a:cxn>
                                  <a:cxn ang="0">
                                    <a:pos x="157" y="27"/>
                                  </a:cxn>
                                  <a:cxn ang="0">
                                    <a:pos x="163" y="33"/>
                                  </a:cxn>
                                  <a:cxn ang="0">
                                    <a:pos x="165" y="42"/>
                                  </a:cxn>
                                  <a:cxn ang="0">
                                    <a:pos x="163" y="52"/>
                                  </a:cxn>
                                  <a:cxn ang="0">
                                    <a:pos x="162" y="61"/>
                                  </a:cxn>
                                  <a:cxn ang="0">
                                    <a:pos x="160" y="66"/>
                                  </a:cxn>
                                  <a:cxn ang="0">
                                    <a:pos x="159" y="69"/>
                                  </a:cxn>
                                  <a:cxn ang="0">
                                    <a:pos x="162" y="74"/>
                                  </a:cxn>
                                  <a:cxn ang="0">
                                    <a:pos x="153" y="80"/>
                                  </a:cxn>
                                  <a:cxn ang="0">
                                    <a:pos x="142" y="89"/>
                                  </a:cxn>
                                  <a:cxn ang="0">
                                    <a:pos x="137" y="93"/>
                                  </a:cxn>
                                  <a:cxn ang="0">
                                    <a:pos x="132" y="96"/>
                                  </a:cxn>
                                  <a:cxn ang="0">
                                    <a:pos x="129" y="101"/>
                                  </a:cxn>
                                  <a:cxn ang="0">
                                    <a:pos x="122" y="102"/>
                                  </a:cxn>
                                  <a:cxn ang="0">
                                    <a:pos x="118" y="99"/>
                                  </a:cxn>
                                  <a:cxn ang="0">
                                    <a:pos x="116" y="95"/>
                                  </a:cxn>
                                  <a:cxn ang="0">
                                    <a:pos x="109" y="97"/>
                                  </a:cxn>
                                  <a:cxn ang="0">
                                    <a:pos x="104" y="103"/>
                                  </a:cxn>
                                  <a:cxn ang="0">
                                    <a:pos x="100" y="112"/>
                                  </a:cxn>
                                  <a:cxn ang="0">
                                    <a:pos x="87" y="111"/>
                                  </a:cxn>
                                  <a:cxn ang="0">
                                    <a:pos x="78" y="109"/>
                                  </a:cxn>
                                  <a:cxn ang="0">
                                    <a:pos x="75" y="104"/>
                                  </a:cxn>
                                  <a:cxn ang="0">
                                    <a:pos x="71" y="102"/>
                                  </a:cxn>
                                  <a:cxn ang="0">
                                    <a:pos x="64" y="98"/>
                                  </a:cxn>
                                  <a:cxn ang="0">
                                    <a:pos x="58" y="96"/>
                                  </a:cxn>
                                  <a:cxn ang="0">
                                    <a:pos x="52" y="100"/>
                                  </a:cxn>
                                  <a:cxn ang="0">
                                    <a:pos x="46" y="98"/>
                                  </a:cxn>
                                  <a:cxn ang="0">
                                    <a:pos x="33" y="95"/>
                                  </a:cxn>
                                  <a:cxn ang="0">
                                    <a:pos x="24" y="89"/>
                                  </a:cxn>
                                  <a:cxn ang="0">
                                    <a:pos x="16" y="85"/>
                                  </a:cxn>
                                  <a:cxn ang="0">
                                    <a:pos x="11" y="80"/>
                                  </a:cxn>
                                  <a:cxn ang="0">
                                    <a:pos x="3" y="80"/>
                                  </a:cxn>
                                  <a:cxn ang="0">
                                    <a:pos x="1" y="68"/>
                                  </a:cxn>
                                  <a:cxn ang="0">
                                    <a:pos x="5" y="58"/>
                                  </a:cxn>
                                  <a:cxn ang="0">
                                    <a:pos x="13" y="48"/>
                                  </a:cxn>
                                  <a:cxn ang="0">
                                    <a:pos x="19" y="41"/>
                                  </a:cxn>
                                  <a:cxn ang="0">
                                    <a:pos x="27" y="40"/>
                                  </a:cxn>
                                  <a:cxn ang="0">
                                    <a:pos x="35" y="37"/>
                                  </a:cxn>
                                  <a:cxn ang="0">
                                    <a:pos x="44" y="36"/>
                                  </a:cxn>
                                  <a:cxn ang="0">
                                    <a:pos x="56" y="27"/>
                                  </a:cxn>
                                  <a:cxn ang="0">
                                    <a:pos x="59" y="24"/>
                                  </a:cxn>
                                  <a:cxn ang="0">
                                    <a:pos x="58" y="21"/>
                                  </a:cxn>
                                  <a:cxn ang="0">
                                    <a:pos x="55" y="15"/>
                                  </a:cxn>
                                  <a:cxn ang="0">
                                    <a:pos x="55" y="11"/>
                                  </a:cxn>
                                  <a:cxn ang="0">
                                    <a:pos x="58" y="4"/>
                                  </a:cxn>
                                  <a:cxn ang="0">
                                    <a:pos x="67" y="2"/>
                                  </a:cxn>
                                  <a:cxn ang="0">
                                    <a:pos x="75" y="2"/>
                                  </a:cxn>
                                </a:cxnLst>
                                <a:rect l="0" t="0" r="r" b="b"/>
                                <a:pathLst>
                                  <a:path w="166" h="112">
                                    <a:moveTo>
                                      <a:pt x="75" y="1"/>
                                    </a:moveTo>
                                    <a:lnTo>
                                      <a:pt x="76" y="0"/>
                                    </a:lnTo>
                                    <a:lnTo>
                                      <a:pt x="77" y="0"/>
                                    </a:lnTo>
                                    <a:lnTo>
                                      <a:pt x="78" y="0"/>
                                    </a:lnTo>
                                    <a:lnTo>
                                      <a:pt x="78" y="0"/>
                                    </a:lnTo>
                                    <a:lnTo>
                                      <a:pt x="79" y="0"/>
                                    </a:lnTo>
                                    <a:lnTo>
                                      <a:pt x="80" y="0"/>
                                    </a:lnTo>
                                    <a:lnTo>
                                      <a:pt x="81" y="1"/>
                                    </a:lnTo>
                                    <a:lnTo>
                                      <a:pt x="82" y="1"/>
                                    </a:lnTo>
                                    <a:lnTo>
                                      <a:pt x="83" y="2"/>
                                    </a:lnTo>
                                    <a:lnTo>
                                      <a:pt x="84" y="2"/>
                                    </a:lnTo>
                                    <a:lnTo>
                                      <a:pt x="85" y="3"/>
                                    </a:lnTo>
                                    <a:lnTo>
                                      <a:pt x="85" y="4"/>
                                    </a:lnTo>
                                    <a:lnTo>
                                      <a:pt x="86" y="5"/>
                                    </a:lnTo>
                                    <a:lnTo>
                                      <a:pt x="87" y="6"/>
                                    </a:lnTo>
                                    <a:lnTo>
                                      <a:pt x="88" y="6"/>
                                    </a:lnTo>
                                    <a:lnTo>
                                      <a:pt x="89" y="7"/>
                                    </a:lnTo>
                                    <a:lnTo>
                                      <a:pt x="90" y="8"/>
                                    </a:lnTo>
                                    <a:lnTo>
                                      <a:pt x="91" y="8"/>
                                    </a:lnTo>
                                    <a:lnTo>
                                      <a:pt x="92" y="9"/>
                                    </a:lnTo>
                                    <a:lnTo>
                                      <a:pt x="92" y="9"/>
                                    </a:lnTo>
                                    <a:lnTo>
                                      <a:pt x="92" y="9"/>
                                    </a:lnTo>
                                    <a:lnTo>
                                      <a:pt x="92" y="10"/>
                                    </a:lnTo>
                                    <a:lnTo>
                                      <a:pt x="92" y="10"/>
                                    </a:lnTo>
                                    <a:lnTo>
                                      <a:pt x="92" y="10"/>
                                    </a:lnTo>
                                    <a:lnTo>
                                      <a:pt x="92" y="10"/>
                                    </a:lnTo>
                                    <a:lnTo>
                                      <a:pt x="93" y="10"/>
                                    </a:lnTo>
                                    <a:lnTo>
                                      <a:pt x="93" y="10"/>
                                    </a:lnTo>
                                    <a:lnTo>
                                      <a:pt x="93" y="10"/>
                                    </a:lnTo>
                                    <a:lnTo>
                                      <a:pt x="93" y="10"/>
                                    </a:lnTo>
                                    <a:lnTo>
                                      <a:pt x="93" y="9"/>
                                    </a:lnTo>
                                    <a:lnTo>
                                      <a:pt x="93" y="9"/>
                                    </a:lnTo>
                                    <a:lnTo>
                                      <a:pt x="95" y="9"/>
                                    </a:lnTo>
                                    <a:lnTo>
                                      <a:pt x="98" y="9"/>
                                    </a:lnTo>
                                    <a:lnTo>
                                      <a:pt x="102" y="10"/>
                                    </a:lnTo>
                                    <a:lnTo>
                                      <a:pt x="104" y="10"/>
                                    </a:lnTo>
                                    <a:lnTo>
                                      <a:pt x="107" y="10"/>
                                    </a:lnTo>
                                    <a:lnTo>
                                      <a:pt x="109" y="10"/>
                                    </a:lnTo>
                                    <a:lnTo>
                                      <a:pt x="111" y="11"/>
                                    </a:lnTo>
                                    <a:lnTo>
                                      <a:pt x="113" y="11"/>
                                    </a:lnTo>
                                    <a:lnTo>
                                      <a:pt x="114" y="11"/>
                                    </a:lnTo>
                                    <a:lnTo>
                                      <a:pt x="114" y="12"/>
                                    </a:lnTo>
                                    <a:lnTo>
                                      <a:pt x="115" y="12"/>
                                    </a:lnTo>
                                    <a:lnTo>
                                      <a:pt x="116" y="13"/>
                                    </a:lnTo>
                                    <a:lnTo>
                                      <a:pt x="117" y="13"/>
                                    </a:lnTo>
                                    <a:lnTo>
                                      <a:pt x="117" y="14"/>
                                    </a:lnTo>
                                    <a:lnTo>
                                      <a:pt x="118" y="14"/>
                                    </a:lnTo>
                                    <a:lnTo>
                                      <a:pt x="118" y="15"/>
                                    </a:lnTo>
                                    <a:lnTo>
                                      <a:pt x="119" y="16"/>
                                    </a:lnTo>
                                    <a:lnTo>
                                      <a:pt x="119" y="16"/>
                                    </a:lnTo>
                                    <a:lnTo>
                                      <a:pt x="119" y="17"/>
                                    </a:lnTo>
                                    <a:lnTo>
                                      <a:pt x="120" y="18"/>
                                    </a:lnTo>
                                    <a:lnTo>
                                      <a:pt x="120" y="19"/>
                                    </a:lnTo>
                                    <a:lnTo>
                                      <a:pt x="120" y="21"/>
                                    </a:lnTo>
                                    <a:lnTo>
                                      <a:pt x="122" y="21"/>
                                    </a:lnTo>
                                    <a:lnTo>
                                      <a:pt x="123" y="21"/>
                                    </a:lnTo>
                                    <a:lnTo>
                                      <a:pt x="125" y="21"/>
                                    </a:lnTo>
                                    <a:lnTo>
                                      <a:pt x="127" y="21"/>
                                    </a:lnTo>
                                    <a:lnTo>
                                      <a:pt x="127" y="21"/>
                                    </a:lnTo>
                                    <a:lnTo>
                                      <a:pt x="127" y="21"/>
                                    </a:lnTo>
                                    <a:lnTo>
                                      <a:pt x="128" y="20"/>
                                    </a:lnTo>
                                    <a:lnTo>
                                      <a:pt x="128" y="20"/>
                                    </a:lnTo>
                                    <a:lnTo>
                                      <a:pt x="128" y="20"/>
                                    </a:lnTo>
                                    <a:lnTo>
                                      <a:pt x="128" y="19"/>
                                    </a:lnTo>
                                    <a:lnTo>
                                      <a:pt x="128" y="19"/>
                                    </a:lnTo>
                                    <a:lnTo>
                                      <a:pt x="128" y="19"/>
                                    </a:lnTo>
                                    <a:lnTo>
                                      <a:pt x="130" y="19"/>
                                    </a:lnTo>
                                    <a:lnTo>
                                      <a:pt x="132" y="19"/>
                                    </a:lnTo>
                                    <a:lnTo>
                                      <a:pt x="133" y="19"/>
                                    </a:lnTo>
                                    <a:lnTo>
                                      <a:pt x="135" y="19"/>
                                    </a:lnTo>
                                    <a:lnTo>
                                      <a:pt x="135" y="19"/>
                                    </a:lnTo>
                                    <a:lnTo>
                                      <a:pt x="136" y="19"/>
                                    </a:lnTo>
                                    <a:lnTo>
                                      <a:pt x="136" y="19"/>
                                    </a:lnTo>
                                    <a:lnTo>
                                      <a:pt x="137" y="19"/>
                                    </a:lnTo>
                                    <a:lnTo>
                                      <a:pt x="138" y="19"/>
                                    </a:lnTo>
                                    <a:lnTo>
                                      <a:pt x="138" y="20"/>
                                    </a:lnTo>
                                    <a:lnTo>
                                      <a:pt x="140" y="21"/>
                                    </a:lnTo>
                                    <a:lnTo>
                                      <a:pt x="141" y="22"/>
                                    </a:lnTo>
                                    <a:lnTo>
                                      <a:pt x="142" y="23"/>
                                    </a:lnTo>
                                    <a:lnTo>
                                      <a:pt x="143" y="24"/>
                                    </a:lnTo>
                                    <a:lnTo>
                                      <a:pt x="144" y="24"/>
                                    </a:lnTo>
                                    <a:lnTo>
                                      <a:pt x="145" y="25"/>
                                    </a:lnTo>
                                    <a:lnTo>
                                      <a:pt x="146" y="25"/>
                                    </a:lnTo>
                                    <a:lnTo>
                                      <a:pt x="147" y="25"/>
                                    </a:lnTo>
                                    <a:lnTo>
                                      <a:pt x="148" y="26"/>
                                    </a:lnTo>
                                    <a:lnTo>
                                      <a:pt x="149" y="26"/>
                                    </a:lnTo>
                                    <a:lnTo>
                                      <a:pt x="150" y="26"/>
                                    </a:lnTo>
                                    <a:lnTo>
                                      <a:pt x="152" y="25"/>
                                    </a:lnTo>
                                    <a:lnTo>
                                      <a:pt x="152" y="25"/>
                                    </a:lnTo>
                                    <a:lnTo>
                                      <a:pt x="152" y="25"/>
                                    </a:lnTo>
                                    <a:lnTo>
                                      <a:pt x="153" y="25"/>
                                    </a:lnTo>
                                    <a:lnTo>
                                      <a:pt x="153" y="25"/>
                                    </a:lnTo>
                                    <a:lnTo>
                                      <a:pt x="154" y="26"/>
                                    </a:lnTo>
                                    <a:lnTo>
                                      <a:pt x="156" y="26"/>
                                    </a:lnTo>
                                    <a:lnTo>
                                      <a:pt x="156" y="26"/>
                                    </a:lnTo>
                                    <a:lnTo>
                                      <a:pt x="157" y="27"/>
                                    </a:lnTo>
                                    <a:lnTo>
                                      <a:pt x="158" y="27"/>
                                    </a:lnTo>
                                    <a:lnTo>
                                      <a:pt x="159" y="28"/>
                                    </a:lnTo>
                                    <a:lnTo>
                                      <a:pt x="159" y="28"/>
                                    </a:lnTo>
                                    <a:lnTo>
                                      <a:pt x="160" y="29"/>
                                    </a:lnTo>
                                    <a:lnTo>
                                      <a:pt x="161" y="30"/>
                                    </a:lnTo>
                                    <a:lnTo>
                                      <a:pt x="161" y="31"/>
                                    </a:lnTo>
                                    <a:lnTo>
                                      <a:pt x="162" y="32"/>
                                    </a:lnTo>
                                    <a:lnTo>
                                      <a:pt x="163" y="33"/>
                                    </a:lnTo>
                                    <a:lnTo>
                                      <a:pt x="163" y="33"/>
                                    </a:lnTo>
                                    <a:lnTo>
                                      <a:pt x="164" y="33"/>
                                    </a:lnTo>
                                    <a:lnTo>
                                      <a:pt x="165" y="34"/>
                                    </a:lnTo>
                                    <a:lnTo>
                                      <a:pt x="165" y="36"/>
                                    </a:lnTo>
                                    <a:lnTo>
                                      <a:pt x="165" y="37"/>
                                    </a:lnTo>
                                    <a:lnTo>
                                      <a:pt x="166" y="39"/>
                                    </a:lnTo>
                                    <a:lnTo>
                                      <a:pt x="165" y="41"/>
                                    </a:lnTo>
                                    <a:lnTo>
                                      <a:pt x="165" y="42"/>
                                    </a:lnTo>
                                    <a:lnTo>
                                      <a:pt x="165" y="44"/>
                                    </a:lnTo>
                                    <a:lnTo>
                                      <a:pt x="165" y="45"/>
                                    </a:lnTo>
                                    <a:lnTo>
                                      <a:pt x="165" y="47"/>
                                    </a:lnTo>
                                    <a:lnTo>
                                      <a:pt x="164" y="48"/>
                                    </a:lnTo>
                                    <a:lnTo>
                                      <a:pt x="164" y="49"/>
                                    </a:lnTo>
                                    <a:lnTo>
                                      <a:pt x="163" y="50"/>
                                    </a:lnTo>
                                    <a:lnTo>
                                      <a:pt x="163" y="51"/>
                                    </a:lnTo>
                                    <a:lnTo>
                                      <a:pt x="163" y="52"/>
                                    </a:lnTo>
                                    <a:lnTo>
                                      <a:pt x="162" y="53"/>
                                    </a:lnTo>
                                    <a:lnTo>
                                      <a:pt x="162" y="54"/>
                                    </a:lnTo>
                                    <a:lnTo>
                                      <a:pt x="162" y="56"/>
                                    </a:lnTo>
                                    <a:lnTo>
                                      <a:pt x="161" y="56"/>
                                    </a:lnTo>
                                    <a:lnTo>
                                      <a:pt x="161" y="57"/>
                                    </a:lnTo>
                                    <a:lnTo>
                                      <a:pt x="161" y="58"/>
                                    </a:lnTo>
                                    <a:lnTo>
                                      <a:pt x="161" y="59"/>
                                    </a:lnTo>
                                    <a:lnTo>
                                      <a:pt x="162" y="61"/>
                                    </a:lnTo>
                                    <a:lnTo>
                                      <a:pt x="162" y="62"/>
                                    </a:lnTo>
                                    <a:lnTo>
                                      <a:pt x="162" y="63"/>
                                    </a:lnTo>
                                    <a:lnTo>
                                      <a:pt x="162" y="63"/>
                                    </a:lnTo>
                                    <a:lnTo>
                                      <a:pt x="161" y="64"/>
                                    </a:lnTo>
                                    <a:lnTo>
                                      <a:pt x="161" y="65"/>
                                    </a:lnTo>
                                    <a:lnTo>
                                      <a:pt x="161" y="65"/>
                                    </a:lnTo>
                                    <a:lnTo>
                                      <a:pt x="161" y="66"/>
                                    </a:lnTo>
                                    <a:lnTo>
                                      <a:pt x="160" y="66"/>
                                    </a:lnTo>
                                    <a:lnTo>
                                      <a:pt x="160" y="67"/>
                                    </a:lnTo>
                                    <a:lnTo>
                                      <a:pt x="159" y="67"/>
                                    </a:lnTo>
                                    <a:lnTo>
                                      <a:pt x="159" y="67"/>
                                    </a:lnTo>
                                    <a:lnTo>
                                      <a:pt x="158" y="67"/>
                                    </a:lnTo>
                                    <a:lnTo>
                                      <a:pt x="159" y="68"/>
                                    </a:lnTo>
                                    <a:lnTo>
                                      <a:pt x="159" y="68"/>
                                    </a:lnTo>
                                    <a:lnTo>
                                      <a:pt x="159" y="69"/>
                                    </a:lnTo>
                                    <a:lnTo>
                                      <a:pt x="159" y="69"/>
                                    </a:lnTo>
                                    <a:lnTo>
                                      <a:pt x="160" y="70"/>
                                    </a:lnTo>
                                    <a:lnTo>
                                      <a:pt x="161" y="70"/>
                                    </a:lnTo>
                                    <a:lnTo>
                                      <a:pt x="161" y="71"/>
                                    </a:lnTo>
                                    <a:lnTo>
                                      <a:pt x="161" y="71"/>
                                    </a:lnTo>
                                    <a:lnTo>
                                      <a:pt x="162" y="72"/>
                                    </a:lnTo>
                                    <a:lnTo>
                                      <a:pt x="162" y="72"/>
                                    </a:lnTo>
                                    <a:lnTo>
                                      <a:pt x="162" y="73"/>
                                    </a:lnTo>
                                    <a:lnTo>
                                      <a:pt x="162" y="74"/>
                                    </a:lnTo>
                                    <a:lnTo>
                                      <a:pt x="162" y="74"/>
                                    </a:lnTo>
                                    <a:lnTo>
                                      <a:pt x="162" y="75"/>
                                    </a:lnTo>
                                    <a:lnTo>
                                      <a:pt x="160" y="76"/>
                                    </a:lnTo>
                                    <a:lnTo>
                                      <a:pt x="159" y="76"/>
                                    </a:lnTo>
                                    <a:lnTo>
                                      <a:pt x="157" y="77"/>
                                    </a:lnTo>
                                    <a:lnTo>
                                      <a:pt x="156" y="78"/>
                                    </a:lnTo>
                                    <a:lnTo>
                                      <a:pt x="154" y="78"/>
                                    </a:lnTo>
                                    <a:lnTo>
                                      <a:pt x="153" y="80"/>
                                    </a:lnTo>
                                    <a:lnTo>
                                      <a:pt x="152" y="80"/>
                                    </a:lnTo>
                                    <a:lnTo>
                                      <a:pt x="151" y="81"/>
                                    </a:lnTo>
                                    <a:lnTo>
                                      <a:pt x="149" y="83"/>
                                    </a:lnTo>
                                    <a:lnTo>
                                      <a:pt x="146" y="85"/>
                                    </a:lnTo>
                                    <a:lnTo>
                                      <a:pt x="145" y="86"/>
                                    </a:lnTo>
                                    <a:lnTo>
                                      <a:pt x="144" y="87"/>
                                    </a:lnTo>
                                    <a:lnTo>
                                      <a:pt x="143" y="88"/>
                                    </a:lnTo>
                                    <a:lnTo>
                                      <a:pt x="142" y="89"/>
                                    </a:lnTo>
                                    <a:lnTo>
                                      <a:pt x="141" y="89"/>
                                    </a:lnTo>
                                    <a:lnTo>
                                      <a:pt x="140" y="89"/>
                                    </a:lnTo>
                                    <a:lnTo>
                                      <a:pt x="140" y="90"/>
                                    </a:lnTo>
                                    <a:lnTo>
                                      <a:pt x="139" y="90"/>
                                    </a:lnTo>
                                    <a:lnTo>
                                      <a:pt x="139" y="91"/>
                                    </a:lnTo>
                                    <a:lnTo>
                                      <a:pt x="138" y="91"/>
                                    </a:lnTo>
                                    <a:lnTo>
                                      <a:pt x="137" y="93"/>
                                    </a:lnTo>
                                    <a:lnTo>
                                      <a:pt x="137" y="93"/>
                                    </a:lnTo>
                                    <a:lnTo>
                                      <a:pt x="136" y="94"/>
                                    </a:lnTo>
                                    <a:lnTo>
                                      <a:pt x="136" y="94"/>
                                    </a:lnTo>
                                    <a:lnTo>
                                      <a:pt x="135" y="95"/>
                                    </a:lnTo>
                                    <a:lnTo>
                                      <a:pt x="134" y="95"/>
                                    </a:lnTo>
                                    <a:lnTo>
                                      <a:pt x="134" y="95"/>
                                    </a:lnTo>
                                    <a:lnTo>
                                      <a:pt x="133" y="95"/>
                                    </a:lnTo>
                                    <a:lnTo>
                                      <a:pt x="132" y="95"/>
                                    </a:lnTo>
                                    <a:lnTo>
                                      <a:pt x="132" y="96"/>
                                    </a:lnTo>
                                    <a:lnTo>
                                      <a:pt x="131" y="97"/>
                                    </a:lnTo>
                                    <a:lnTo>
                                      <a:pt x="131" y="98"/>
                                    </a:lnTo>
                                    <a:lnTo>
                                      <a:pt x="131" y="98"/>
                                    </a:lnTo>
                                    <a:lnTo>
                                      <a:pt x="131" y="99"/>
                                    </a:lnTo>
                                    <a:lnTo>
                                      <a:pt x="130" y="100"/>
                                    </a:lnTo>
                                    <a:lnTo>
                                      <a:pt x="130" y="100"/>
                                    </a:lnTo>
                                    <a:lnTo>
                                      <a:pt x="129" y="101"/>
                                    </a:lnTo>
                                    <a:lnTo>
                                      <a:pt x="129" y="101"/>
                                    </a:lnTo>
                                    <a:lnTo>
                                      <a:pt x="128" y="101"/>
                                    </a:lnTo>
                                    <a:lnTo>
                                      <a:pt x="128" y="102"/>
                                    </a:lnTo>
                                    <a:lnTo>
                                      <a:pt x="127" y="102"/>
                                    </a:lnTo>
                                    <a:lnTo>
                                      <a:pt x="126" y="102"/>
                                    </a:lnTo>
                                    <a:lnTo>
                                      <a:pt x="125" y="102"/>
                                    </a:lnTo>
                                    <a:lnTo>
                                      <a:pt x="124" y="102"/>
                                    </a:lnTo>
                                    <a:lnTo>
                                      <a:pt x="123" y="102"/>
                                    </a:lnTo>
                                    <a:lnTo>
                                      <a:pt x="122" y="102"/>
                                    </a:lnTo>
                                    <a:lnTo>
                                      <a:pt x="122" y="102"/>
                                    </a:lnTo>
                                    <a:lnTo>
                                      <a:pt x="121" y="102"/>
                                    </a:lnTo>
                                    <a:lnTo>
                                      <a:pt x="120" y="102"/>
                                    </a:lnTo>
                                    <a:lnTo>
                                      <a:pt x="120" y="101"/>
                                    </a:lnTo>
                                    <a:lnTo>
                                      <a:pt x="119" y="101"/>
                                    </a:lnTo>
                                    <a:lnTo>
                                      <a:pt x="119" y="100"/>
                                    </a:lnTo>
                                    <a:lnTo>
                                      <a:pt x="119" y="100"/>
                                    </a:lnTo>
                                    <a:lnTo>
                                      <a:pt x="118" y="99"/>
                                    </a:lnTo>
                                    <a:lnTo>
                                      <a:pt x="118" y="99"/>
                                    </a:lnTo>
                                    <a:lnTo>
                                      <a:pt x="118" y="98"/>
                                    </a:lnTo>
                                    <a:lnTo>
                                      <a:pt x="118" y="97"/>
                                    </a:lnTo>
                                    <a:lnTo>
                                      <a:pt x="118" y="95"/>
                                    </a:lnTo>
                                    <a:lnTo>
                                      <a:pt x="118" y="94"/>
                                    </a:lnTo>
                                    <a:lnTo>
                                      <a:pt x="118" y="94"/>
                                    </a:lnTo>
                                    <a:lnTo>
                                      <a:pt x="117" y="94"/>
                                    </a:lnTo>
                                    <a:lnTo>
                                      <a:pt x="116" y="95"/>
                                    </a:lnTo>
                                    <a:lnTo>
                                      <a:pt x="115" y="95"/>
                                    </a:lnTo>
                                    <a:lnTo>
                                      <a:pt x="114" y="96"/>
                                    </a:lnTo>
                                    <a:lnTo>
                                      <a:pt x="113" y="97"/>
                                    </a:lnTo>
                                    <a:lnTo>
                                      <a:pt x="112" y="97"/>
                                    </a:lnTo>
                                    <a:lnTo>
                                      <a:pt x="112" y="97"/>
                                    </a:lnTo>
                                    <a:lnTo>
                                      <a:pt x="111" y="97"/>
                                    </a:lnTo>
                                    <a:lnTo>
                                      <a:pt x="110" y="97"/>
                                    </a:lnTo>
                                    <a:lnTo>
                                      <a:pt x="109" y="97"/>
                                    </a:lnTo>
                                    <a:lnTo>
                                      <a:pt x="108" y="97"/>
                                    </a:lnTo>
                                    <a:lnTo>
                                      <a:pt x="107" y="98"/>
                                    </a:lnTo>
                                    <a:lnTo>
                                      <a:pt x="107" y="98"/>
                                    </a:lnTo>
                                    <a:lnTo>
                                      <a:pt x="106" y="99"/>
                                    </a:lnTo>
                                    <a:lnTo>
                                      <a:pt x="105" y="100"/>
                                    </a:lnTo>
                                    <a:lnTo>
                                      <a:pt x="105" y="101"/>
                                    </a:lnTo>
                                    <a:lnTo>
                                      <a:pt x="105" y="102"/>
                                    </a:lnTo>
                                    <a:lnTo>
                                      <a:pt x="104" y="103"/>
                                    </a:lnTo>
                                    <a:lnTo>
                                      <a:pt x="104" y="104"/>
                                    </a:lnTo>
                                    <a:lnTo>
                                      <a:pt x="103" y="106"/>
                                    </a:lnTo>
                                    <a:lnTo>
                                      <a:pt x="103" y="107"/>
                                    </a:lnTo>
                                    <a:lnTo>
                                      <a:pt x="102" y="109"/>
                                    </a:lnTo>
                                    <a:lnTo>
                                      <a:pt x="102" y="109"/>
                                    </a:lnTo>
                                    <a:lnTo>
                                      <a:pt x="101" y="110"/>
                                    </a:lnTo>
                                    <a:lnTo>
                                      <a:pt x="101" y="111"/>
                                    </a:lnTo>
                                    <a:lnTo>
                                      <a:pt x="100" y="112"/>
                                    </a:lnTo>
                                    <a:lnTo>
                                      <a:pt x="98" y="112"/>
                                    </a:lnTo>
                                    <a:lnTo>
                                      <a:pt x="97" y="112"/>
                                    </a:lnTo>
                                    <a:lnTo>
                                      <a:pt x="95" y="112"/>
                                    </a:lnTo>
                                    <a:lnTo>
                                      <a:pt x="94" y="112"/>
                                    </a:lnTo>
                                    <a:lnTo>
                                      <a:pt x="93" y="112"/>
                                    </a:lnTo>
                                    <a:lnTo>
                                      <a:pt x="91" y="112"/>
                                    </a:lnTo>
                                    <a:lnTo>
                                      <a:pt x="89" y="111"/>
                                    </a:lnTo>
                                    <a:lnTo>
                                      <a:pt x="87" y="111"/>
                                    </a:lnTo>
                                    <a:lnTo>
                                      <a:pt x="85" y="111"/>
                                    </a:lnTo>
                                    <a:lnTo>
                                      <a:pt x="84" y="110"/>
                                    </a:lnTo>
                                    <a:lnTo>
                                      <a:pt x="83" y="110"/>
                                    </a:lnTo>
                                    <a:lnTo>
                                      <a:pt x="81" y="110"/>
                                    </a:lnTo>
                                    <a:lnTo>
                                      <a:pt x="80" y="110"/>
                                    </a:lnTo>
                                    <a:lnTo>
                                      <a:pt x="78" y="110"/>
                                    </a:lnTo>
                                    <a:lnTo>
                                      <a:pt x="78" y="110"/>
                                    </a:lnTo>
                                    <a:lnTo>
                                      <a:pt x="78" y="109"/>
                                    </a:lnTo>
                                    <a:lnTo>
                                      <a:pt x="78" y="108"/>
                                    </a:lnTo>
                                    <a:lnTo>
                                      <a:pt x="77" y="107"/>
                                    </a:lnTo>
                                    <a:lnTo>
                                      <a:pt x="76" y="107"/>
                                    </a:lnTo>
                                    <a:lnTo>
                                      <a:pt x="76" y="106"/>
                                    </a:lnTo>
                                    <a:lnTo>
                                      <a:pt x="75" y="105"/>
                                    </a:lnTo>
                                    <a:lnTo>
                                      <a:pt x="75" y="105"/>
                                    </a:lnTo>
                                    <a:lnTo>
                                      <a:pt x="75" y="104"/>
                                    </a:lnTo>
                                    <a:lnTo>
                                      <a:pt x="75" y="104"/>
                                    </a:lnTo>
                                    <a:lnTo>
                                      <a:pt x="75" y="103"/>
                                    </a:lnTo>
                                    <a:lnTo>
                                      <a:pt x="75" y="102"/>
                                    </a:lnTo>
                                    <a:lnTo>
                                      <a:pt x="74" y="102"/>
                                    </a:lnTo>
                                    <a:lnTo>
                                      <a:pt x="73" y="102"/>
                                    </a:lnTo>
                                    <a:lnTo>
                                      <a:pt x="73" y="102"/>
                                    </a:lnTo>
                                    <a:lnTo>
                                      <a:pt x="72" y="102"/>
                                    </a:lnTo>
                                    <a:lnTo>
                                      <a:pt x="71" y="103"/>
                                    </a:lnTo>
                                    <a:lnTo>
                                      <a:pt x="71" y="102"/>
                                    </a:lnTo>
                                    <a:lnTo>
                                      <a:pt x="70" y="102"/>
                                    </a:lnTo>
                                    <a:lnTo>
                                      <a:pt x="69" y="102"/>
                                    </a:lnTo>
                                    <a:lnTo>
                                      <a:pt x="68" y="102"/>
                                    </a:lnTo>
                                    <a:lnTo>
                                      <a:pt x="67" y="101"/>
                                    </a:lnTo>
                                    <a:lnTo>
                                      <a:pt x="67" y="101"/>
                                    </a:lnTo>
                                    <a:lnTo>
                                      <a:pt x="66" y="100"/>
                                    </a:lnTo>
                                    <a:lnTo>
                                      <a:pt x="65" y="99"/>
                                    </a:lnTo>
                                    <a:lnTo>
                                      <a:pt x="64" y="98"/>
                                    </a:lnTo>
                                    <a:lnTo>
                                      <a:pt x="64" y="97"/>
                                    </a:lnTo>
                                    <a:lnTo>
                                      <a:pt x="63" y="96"/>
                                    </a:lnTo>
                                    <a:lnTo>
                                      <a:pt x="62" y="96"/>
                                    </a:lnTo>
                                    <a:lnTo>
                                      <a:pt x="62" y="95"/>
                                    </a:lnTo>
                                    <a:lnTo>
                                      <a:pt x="61" y="95"/>
                                    </a:lnTo>
                                    <a:lnTo>
                                      <a:pt x="60" y="96"/>
                                    </a:lnTo>
                                    <a:lnTo>
                                      <a:pt x="59" y="96"/>
                                    </a:lnTo>
                                    <a:lnTo>
                                      <a:pt x="58" y="96"/>
                                    </a:lnTo>
                                    <a:lnTo>
                                      <a:pt x="58" y="97"/>
                                    </a:lnTo>
                                    <a:lnTo>
                                      <a:pt x="57" y="97"/>
                                    </a:lnTo>
                                    <a:lnTo>
                                      <a:pt x="56" y="98"/>
                                    </a:lnTo>
                                    <a:lnTo>
                                      <a:pt x="55" y="99"/>
                                    </a:lnTo>
                                    <a:lnTo>
                                      <a:pt x="54" y="99"/>
                                    </a:lnTo>
                                    <a:lnTo>
                                      <a:pt x="53" y="100"/>
                                    </a:lnTo>
                                    <a:lnTo>
                                      <a:pt x="53" y="100"/>
                                    </a:lnTo>
                                    <a:lnTo>
                                      <a:pt x="52" y="100"/>
                                    </a:lnTo>
                                    <a:lnTo>
                                      <a:pt x="51" y="100"/>
                                    </a:lnTo>
                                    <a:lnTo>
                                      <a:pt x="50" y="100"/>
                                    </a:lnTo>
                                    <a:lnTo>
                                      <a:pt x="49" y="100"/>
                                    </a:lnTo>
                                    <a:lnTo>
                                      <a:pt x="49" y="99"/>
                                    </a:lnTo>
                                    <a:lnTo>
                                      <a:pt x="48" y="99"/>
                                    </a:lnTo>
                                    <a:lnTo>
                                      <a:pt x="47" y="98"/>
                                    </a:lnTo>
                                    <a:lnTo>
                                      <a:pt x="47" y="98"/>
                                    </a:lnTo>
                                    <a:lnTo>
                                      <a:pt x="46" y="98"/>
                                    </a:lnTo>
                                    <a:lnTo>
                                      <a:pt x="45" y="97"/>
                                    </a:lnTo>
                                    <a:lnTo>
                                      <a:pt x="44" y="97"/>
                                    </a:lnTo>
                                    <a:lnTo>
                                      <a:pt x="43" y="97"/>
                                    </a:lnTo>
                                    <a:lnTo>
                                      <a:pt x="42" y="97"/>
                                    </a:lnTo>
                                    <a:lnTo>
                                      <a:pt x="40" y="97"/>
                                    </a:lnTo>
                                    <a:lnTo>
                                      <a:pt x="37" y="97"/>
                                    </a:lnTo>
                                    <a:lnTo>
                                      <a:pt x="35" y="97"/>
                                    </a:lnTo>
                                    <a:lnTo>
                                      <a:pt x="33" y="95"/>
                                    </a:lnTo>
                                    <a:lnTo>
                                      <a:pt x="31" y="93"/>
                                    </a:lnTo>
                                    <a:lnTo>
                                      <a:pt x="30" y="92"/>
                                    </a:lnTo>
                                    <a:lnTo>
                                      <a:pt x="30" y="91"/>
                                    </a:lnTo>
                                    <a:lnTo>
                                      <a:pt x="29" y="90"/>
                                    </a:lnTo>
                                    <a:lnTo>
                                      <a:pt x="28" y="89"/>
                                    </a:lnTo>
                                    <a:lnTo>
                                      <a:pt x="27" y="89"/>
                                    </a:lnTo>
                                    <a:lnTo>
                                      <a:pt x="25" y="89"/>
                                    </a:lnTo>
                                    <a:lnTo>
                                      <a:pt x="24" y="89"/>
                                    </a:lnTo>
                                    <a:lnTo>
                                      <a:pt x="22" y="89"/>
                                    </a:lnTo>
                                    <a:lnTo>
                                      <a:pt x="21" y="89"/>
                                    </a:lnTo>
                                    <a:lnTo>
                                      <a:pt x="20" y="88"/>
                                    </a:lnTo>
                                    <a:lnTo>
                                      <a:pt x="19" y="88"/>
                                    </a:lnTo>
                                    <a:lnTo>
                                      <a:pt x="18" y="87"/>
                                    </a:lnTo>
                                    <a:lnTo>
                                      <a:pt x="17" y="87"/>
                                    </a:lnTo>
                                    <a:lnTo>
                                      <a:pt x="16" y="86"/>
                                    </a:lnTo>
                                    <a:lnTo>
                                      <a:pt x="16" y="85"/>
                                    </a:lnTo>
                                    <a:lnTo>
                                      <a:pt x="15" y="84"/>
                                    </a:lnTo>
                                    <a:lnTo>
                                      <a:pt x="15" y="83"/>
                                    </a:lnTo>
                                    <a:lnTo>
                                      <a:pt x="14" y="83"/>
                                    </a:lnTo>
                                    <a:lnTo>
                                      <a:pt x="14" y="82"/>
                                    </a:lnTo>
                                    <a:lnTo>
                                      <a:pt x="13" y="80"/>
                                    </a:lnTo>
                                    <a:lnTo>
                                      <a:pt x="13" y="80"/>
                                    </a:lnTo>
                                    <a:lnTo>
                                      <a:pt x="12" y="80"/>
                                    </a:lnTo>
                                    <a:lnTo>
                                      <a:pt x="11" y="80"/>
                                    </a:lnTo>
                                    <a:lnTo>
                                      <a:pt x="10" y="80"/>
                                    </a:lnTo>
                                    <a:lnTo>
                                      <a:pt x="8" y="81"/>
                                    </a:lnTo>
                                    <a:lnTo>
                                      <a:pt x="7" y="81"/>
                                    </a:lnTo>
                                    <a:lnTo>
                                      <a:pt x="6" y="81"/>
                                    </a:lnTo>
                                    <a:lnTo>
                                      <a:pt x="5" y="81"/>
                                    </a:lnTo>
                                    <a:lnTo>
                                      <a:pt x="4" y="81"/>
                                    </a:lnTo>
                                    <a:lnTo>
                                      <a:pt x="3" y="81"/>
                                    </a:lnTo>
                                    <a:lnTo>
                                      <a:pt x="3" y="80"/>
                                    </a:lnTo>
                                    <a:lnTo>
                                      <a:pt x="2" y="80"/>
                                    </a:lnTo>
                                    <a:lnTo>
                                      <a:pt x="2" y="79"/>
                                    </a:lnTo>
                                    <a:lnTo>
                                      <a:pt x="2" y="79"/>
                                    </a:lnTo>
                                    <a:lnTo>
                                      <a:pt x="2" y="76"/>
                                    </a:lnTo>
                                    <a:lnTo>
                                      <a:pt x="2" y="74"/>
                                    </a:lnTo>
                                    <a:lnTo>
                                      <a:pt x="2" y="72"/>
                                    </a:lnTo>
                                    <a:lnTo>
                                      <a:pt x="2" y="70"/>
                                    </a:lnTo>
                                    <a:lnTo>
                                      <a:pt x="1" y="68"/>
                                    </a:lnTo>
                                    <a:lnTo>
                                      <a:pt x="1" y="65"/>
                                    </a:lnTo>
                                    <a:lnTo>
                                      <a:pt x="1" y="65"/>
                                    </a:lnTo>
                                    <a:lnTo>
                                      <a:pt x="1" y="64"/>
                                    </a:lnTo>
                                    <a:lnTo>
                                      <a:pt x="0" y="63"/>
                                    </a:lnTo>
                                    <a:lnTo>
                                      <a:pt x="0" y="62"/>
                                    </a:lnTo>
                                    <a:lnTo>
                                      <a:pt x="3" y="60"/>
                                    </a:lnTo>
                                    <a:lnTo>
                                      <a:pt x="4" y="59"/>
                                    </a:lnTo>
                                    <a:lnTo>
                                      <a:pt x="5" y="58"/>
                                    </a:lnTo>
                                    <a:lnTo>
                                      <a:pt x="6" y="57"/>
                                    </a:lnTo>
                                    <a:lnTo>
                                      <a:pt x="7" y="56"/>
                                    </a:lnTo>
                                    <a:lnTo>
                                      <a:pt x="8" y="54"/>
                                    </a:lnTo>
                                    <a:lnTo>
                                      <a:pt x="9" y="53"/>
                                    </a:lnTo>
                                    <a:lnTo>
                                      <a:pt x="10" y="52"/>
                                    </a:lnTo>
                                    <a:lnTo>
                                      <a:pt x="11" y="51"/>
                                    </a:lnTo>
                                    <a:lnTo>
                                      <a:pt x="12" y="49"/>
                                    </a:lnTo>
                                    <a:lnTo>
                                      <a:pt x="13" y="48"/>
                                    </a:lnTo>
                                    <a:lnTo>
                                      <a:pt x="14" y="46"/>
                                    </a:lnTo>
                                    <a:lnTo>
                                      <a:pt x="14" y="44"/>
                                    </a:lnTo>
                                    <a:lnTo>
                                      <a:pt x="15" y="42"/>
                                    </a:lnTo>
                                    <a:lnTo>
                                      <a:pt x="15" y="40"/>
                                    </a:lnTo>
                                    <a:lnTo>
                                      <a:pt x="16" y="41"/>
                                    </a:lnTo>
                                    <a:lnTo>
                                      <a:pt x="17" y="41"/>
                                    </a:lnTo>
                                    <a:lnTo>
                                      <a:pt x="18" y="41"/>
                                    </a:lnTo>
                                    <a:lnTo>
                                      <a:pt x="19" y="41"/>
                                    </a:lnTo>
                                    <a:lnTo>
                                      <a:pt x="19" y="41"/>
                                    </a:lnTo>
                                    <a:lnTo>
                                      <a:pt x="20" y="41"/>
                                    </a:lnTo>
                                    <a:lnTo>
                                      <a:pt x="22" y="41"/>
                                    </a:lnTo>
                                    <a:lnTo>
                                      <a:pt x="23" y="41"/>
                                    </a:lnTo>
                                    <a:lnTo>
                                      <a:pt x="24" y="41"/>
                                    </a:lnTo>
                                    <a:lnTo>
                                      <a:pt x="25" y="41"/>
                                    </a:lnTo>
                                    <a:lnTo>
                                      <a:pt x="26" y="41"/>
                                    </a:lnTo>
                                    <a:lnTo>
                                      <a:pt x="27" y="40"/>
                                    </a:lnTo>
                                    <a:lnTo>
                                      <a:pt x="28" y="40"/>
                                    </a:lnTo>
                                    <a:lnTo>
                                      <a:pt x="29" y="40"/>
                                    </a:lnTo>
                                    <a:lnTo>
                                      <a:pt x="30" y="39"/>
                                    </a:lnTo>
                                    <a:lnTo>
                                      <a:pt x="31" y="39"/>
                                    </a:lnTo>
                                    <a:lnTo>
                                      <a:pt x="32" y="38"/>
                                    </a:lnTo>
                                    <a:lnTo>
                                      <a:pt x="34" y="38"/>
                                    </a:lnTo>
                                    <a:lnTo>
                                      <a:pt x="34" y="37"/>
                                    </a:lnTo>
                                    <a:lnTo>
                                      <a:pt x="35" y="37"/>
                                    </a:lnTo>
                                    <a:lnTo>
                                      <a:pt x="35" y="37"/>
                                    </a:lnTo>
                                    <a:lnTo>
                                      <a:pt x="36" y="37"/>
                                    </a:lnTo>
                                    <a:lnTo>
                                      <a:pt x="36" y="37"/>
                                    </a:lnTo>
                                    <a:lnTo>
                                      <a:pt x="37" y="37"/>
                                    </a:lnTo>
                                    <a:lnTo>
                                      <a:pt x="39" y="37"/>
                                    </a:lnTo>
                                    <a:lnTo>
                                      <a:pt x="40" y="36"/>
                                    </a:lnTo>
                                    <a:lnTo>
                                      <a:pt x="42" y="36"/>
                                    </a:lnTo>
                                    <a:lnTo>
                                      <a:pt x="44" y="36"/>
                                    </a:lnTo>
                                    <a:lnTo>
                                      <a:pt x="45" y="35"/>
                                    </a:lnTo>
                                    <a:lnTo>
                                      <a:pt x="46" y="34"/>
                                    </a:lnTo>
                                    <a:lnTo>
                                      <a:pt x="48" y="34"/>
                                    </a:lnTo>
                                    <a:lnTo>
                                      <a:pt x="49" y="33"/>
                                    </a:lnTo>
                                    <a:lnTo>
                                      <a:pt x="50" y="32"/>
                                    </a:lnTo>
                                    <a:lnTo>
                                      <a:pt x="52" y="31"/>
                                    </a:lnTo>
                                    <a:lnTo>
                                      <a:pt x="54" y="29"/>
                                    </a:lnTo>
                                    <a:lnTo>
                                      <a:pt x="56" y="27"/>
                                    </a:lnTo>
                                    <a:lnTo>
                                      <a:pt x="58" y="25"/>
                                    </a:lnTo>
                                    <a:lnTo>
                                      <a:pt x="59" y="25"/>
                                    </a:lnTo>
                                    <a:lnTo>
                                      <a:pt x="59" y="25"/>
                                    </a:lnTo>
                                    <a:lnTo>
                                      <a:pt x="59" y="25"/>
                                    </a:lnTo>
                                    <a:lnTo>
                                      <a:pt x="59" y="25"/>
                                    </a:lnTo>
                                    <a:lnTo>
                                      <a:pt x="59" y="25"/>
                                    </a:lnTo>
                                    <a:lnTo>
                                      <a:pt x="59" y="25"/>
                                    </a:lnTo>
                                    <a:lnTo>
                                      <a:pt x="59" y="24"/>
                                    </a:lnTo>
                                    <a:lnTo>
                                      <a:pt x="59" y="24"/>
                                    </a:lnTo>
                                    <a:lnTo>
                                      <a:pt x="59" y="24"/>
                                    </a:lnTo>
                                    <a:lnTo>
                                      <a:pt x="59" y="24"/>
                                    </a:lnTo>
                                    <a:lnTo>
                                      <a:pt x="58" y="24"/>
                                    </a:lnTo>
                                    <a:lnTo>
                                      <a:pt x="58" y="23"/>
                                    </a:lnTo>
                                    <a:lnTo>
                                      <a:pt x="58" y="22"/>
                                    </a:lnTo>
                                    <a:lnTo>
                                      <a:pt x="58" y="22"/>
                                    </a:lnTo>
                                    <a:lnTo>
                                      <a:pt x="58" y="21"/>
                                    </a:lnTo>
                                    <a:lnTo>
                                      <a:pt x="57" y="20"/>
                                    </a:lnTo>
                                    <a:lnTo>
                                      <a:pt x="57" y="20"/>
                                    </a:lnTo>
                                    <a:lnTo>
                                      <a:pt x="56" y="19"/>
                                    </a:lnTo>
                                    <a:lnTo>
                                      <a:pt x="56" y="18"/>
                                    </a:lnTo>
                                    <a:lnTo>
                                      <a:pt x="55" y="18"/>
                                    </a:lnTo>
                                    <a:lnTo>
                                      <a:pt x="55" y="17"/>
                                    </a:lnTo>
                                    <a:lnTo>
                                      <a:pt x="55" y="16"/>
                                    </a:lnTo>
                                    <a:lnTo>
                                      <a:pt x="55" y="15"/>
                                    </a:lnTo>
                                    <a:lnTo>
                                      <a:pt x="55" y="14"/>
                                    </a:lnTo>
                                    <a:lnTo>
                                      <a:pt x="55" y="13"/>
                                    </a:lnTo>
                                    <a:lnTo>
                                      <a:pt x="55" y="13"/>
                                    </a:lnTo>
                                    <a:lnTo>
                                      <a:pt x="55" y="12"/>
                                    </a:lnTo>
                                    <a:lnTo>
                                      <a:pt x="55" y="12"/>
                                    </a:lnTo>
                                    <a:lnTo>
                                      <a:pt x="55" y="11"/>
                                    </a:lnTo>
                                    <a:lnTo>
                                      <a:pt x="55" y="11"/>
                                    </a:lnTo>
                                    <a:lnTo>
                                      <a:pt x="55" y="11"/>
                                    </a:lnTo>
                                    <a:lnTo>
                                      <a:pt x="55" y="10"/>
                                    </a:lnTo>
                                    <a:lnTo>
                                      <a:pt x="55" y="9"/>
                                    </a:lnTo>
                                    <a:lnTo>
                                      <a:pt x="55" y="8"/>
                                    </a:lnTo>
                                    <a:lnTo>
                                      <a:pt x="55" y="7"/>
                                    </a:lnTo>
                                    <a:lnTo>
                                      <a:pt x="56" y="6"/>
                                    </a:lnTo>
                                    <a:lnTo>
                                      <a:pt x="56" y="6"/>
                                    </a:lnTo>
                                    <a:lnTo>
                                      <a:pt x="57" y="5"/>
                                    </a:lnTo>
                                    <a:lnTo>
                                      <a:pt x="58" y="4"/>
                                    </a:lnTo>
                                    <a:lnTo>
                                      <a:pt x="59" y="4"/>
                                    </a:lnTo>
                                    <a:lnTo>
                                      <a:pt x="60" y="3"/>
                                    </a:lnTo>
                                    <a:lnTo>
                                      <a:pt x="61" y="3"/>
                                    </a:lnTo>
                                    <a:lnTo>
                                      <a:pt x="62" y="3"/>
                                    </a:lnTo>
                                    <a:lnTo>
                                      <a:pt x="63" y="2"/>
                                    </a:lnTo>
                                    <a:lnTo>
                                      <a:pt x="65" y="2"/>
                                    </a:lnTo>
                                    <a:lnTo>
                                      <a:pt x="66" y="2"/>
                                    </a:lnTo>
                                    <a:lnTo>
                                      <a:pt x="67" y="2"/>
                                    </a:lnTo>
                                    <a:lnTo>
                                      <a:pt x="69" y="2"/>
                                    </a:lnTo>
                                    <a:lnTo>
                                      <a:pt x="70" y="2"/>
                                    </a:lnTo>
                                    <a:lnTo>
                                      <a:pt x="72" y="2"/>
                                    </a:lnTo>
                                    <a:lnTo>
                                      <a:pt x="73" y="2"/>
                                    </a:lnTo>
                                    <a:lnTo>
                                      <a:pt x="74" y="2"/>
                                    </a:lnTo>
                                    <a:lnTo>
                                      <a:pt x="74" y="2"/>
                                    </a:lnTo>
                                    <a:lnTo>
                                      <a:pt x="74" y="2"/>
                                    </a:lnTo>
                                    <a:lnTo>
                                      <a:pt x="75" y="2"/>
                                    </a:lnTo>
                                    <a:lnTo>
                                      <a:pt x="75" y="2"/>
                                    </a:lnTo>
                                    <a:lnTo>
                                      <a:pt x="75" y="1"/>
                                    </a:lnTo>
                                    <a:lnTo>
                                      <a:pt x="75" y="1"/>
                                    </a:lnTo>
                                    <a:lnTo>
                                      <a:pt x="75" y="1"/>
                                    </a:lnTo>
                                  </a:path>
                                </a:pathLst>
                              </a:custGeom>
                              <a:solidFill>
                                <a:schemeClr val="accent1">
                                  <a:lumMod val="60000"/>
                                  <a:lumOff val="40000"/>
                                </a:schemeClr>
                              </a:solidFill>
                              <a:ln w="3175">
                                <a:solidFill>
                                  <a:schemeClr val="bg1"/>
                                </a:solidFill>
                              </a:ln>
                            </p:spPr>
                            <p:style>
                              <a:lnRef idx="2">
                                <a:schemeClr val="accent1">
                                  <a:shade val="50000"/>
                                </a:schemeClr>
                              </a:lnRef>
                              <a:fillRef idx="1">
                                <a:schemeClr val="accent1"/>
                              </a:fillRef>
                              <a:effectRef idx="0">
                                <a:schemeClr val="accent1"/>
                              </a:effectRef>
                              <a:fontRef idx="minor">
                                <a:schemeClr val="lt1"/>
                              </a:fontRef>
                            </p:style>
                            <p:txBody>
                              <a:bodyPr lIns="104000" tIns="104000" rIns="104000" bIns="104000" anchor="ctr"/>
                              <a:lstStyle/>
                              <a:p>
                                <a:pPr algn="ctr" defTabSz="457200">
                                  <a:lnSpc>
                                    <a:spcPct val="90000"/>
                                  </a:lnSpc>
                                  <a:buClr>
                                    <a:srgbClr val="0563C1"/>
                                  </a:buClr>
                                  <a:buSzPct val="110000"/>
                                  <a:defRPr/>
                                </a:pPr>
                                <a:endParaRPr lang="en-US" sz="1050" dirty="0">
                                  <a:solidFill>
                                    <a:prstClr val="white"/>
                                  </a:solidFill>
                                </a:endParaRPr>
                              </a:p>
                            </p:txBody>
                          </p:sp>
                          <p:sp>
                            <p:nvSpPr>
                              <p:cNvPr id="135" name="Freeform 5"/>
                              <p:cNvSpPr>
                                <a:spLocks/>
                              </p:cNvSpPr>
                              <p:nvPr/>
                            </p:nvSpPr>
                            <p:spPr bwMode="auto">
                              <a:xfrm>
                                <a:off x="323522" y="2317561"/>
                                <a:ext cx="1665880" cy="1040186"/>
                              </a:xfrm>
                              <a:custGeom>
                                <a:avLst/>
                                <a:gdLst/>
                                <a:ahLst/>
                                <a:cxnLst>
                                  <a:cxn ang="0">
                                    <a:pos x="110" y="1"/>
                                  </a:cxn>
                                  <a:cxn ang="0">
                                    <a:pos x="111" y="5"/>
                                  </a:cxn>
                                  <a:cxn ang="0">
                                    <a:pos x="113" y="8"/>
                                  </a:cxn>
                                  <a:cxn ang="0">
                                    <a:pos x="122" y="9"/>
                                  </a:cxn>
                                  <a:cxn ang="0">
                                    <a:pos x="126" y="5"/>
                                  </a:cxn>
                                  <a:cxn ang="0">
                                    <a:pos x="131" y="4"/>
                                  </a:cxn>
                                  <a:cxn ang="0">
                                    <a:pos x="133" y="9"/>
                                  </a:cxn>
                                  <a:cxn ang="0">
                                    <a:pos x="135" y="12"/>
                                  </a:cxn>
                                  <a:cxn ang="0">
                                    <a:pos x="139" y="13"/>
                                  </a:cxn>
                                  <a:cxn ang="0">
                                    <a:pos x="148" y="15"/>
                                  </a:cxn>
                                  <a:cxn ang="0">
                                    <a:pos x="153" y="19"/>
                                  </a:cxn>
                                  <a:cxn ang="0">
                                    <a:pos x="157" y="25"/>
                                  </a:cxn>
                                  <a:cxn ang="0">
                                    <a:pos x="162" y="31"/>
                                  </a:cxn>
                                  <a:cxn ang="0">
                                    <a:pos x="166" y="38"/>
                                  </a:cxn>
                                  <a:cxn ang="0">
                                    <a:pos x="164" y="43"/>
                                  </a:cxn>
                                  <a:cxn ang="0">
                                    <a:pos x="166" y="46"/>
                                  </a:cxn>
                                  <a:cxn ang="0">
                                    <a:pos x="168" y="49"/>
                                  </a:cxn>
                                  <a:cxn ang="0">
                                    <a:pos x="168" y="55"/>
                                  </a:cxn>
                                  <a:cxn ang="0">
                                    <a:pos x="162" y="71"/>
                                  </a:cxn>
                                  <a:cxn ang="0">
                                    <a:pos x="145" y="79"/>
                                  </a:cxn>
                                  <a:cxn ang="0">
                                    <a:pos x="138" y="83"/>
                                  </a:cxn>
                                  <a:cxn ang="0">
                                    <a:pos x="128" y="86"/>
                                  </a:cxn>
                                  <a:cxn ang="0">
                                    <a:pos x="121" y="95"/>
                                  </a:cxn>
                                  <a:cxn ang="0">
                                    <a:pos x="111" y="90"/>
                                  </a:cxn>
                                  <a:cxn ang="0">
                                    <a:pos x="105" y="85"/>
                                  </a:cxn>
                                  <a:cxn ang="0">
                                    <a:pos x="90" y="87"/>
                                  </a:cxn>
                                  <a:cxn ang="0">
                                    <a:pos x="72" y="91"/>
                                  </a:cxn>
                                  <a:cxn ang="0">
                                    <a:pos x="61" y="97"/>
                                  </a:cxn>
                                  <a:cxn ang="0">
                                    <a:pos x="43" y="91"/>
                                  </a:cxn>
                                  <a:cxn ang="0">
                                    <a:pos x="26" y="88"/>
                                  </a:cxn>
                                  <a:cxn ang="0">
                                    <a:pos x="18" y="87"/>
                                  </a:cxn>
                                  <a:cxn ang="0">
                                    <a:pos x="5" y="79"/>
                                  </a:cxn>
                                  <a:cxn ang="0">
                                    <a:pos x="0" y="74"/>
                                  </a:cxn>
                                  <a:cxn ang="0">
                                    <a:pos x="3" y="69"/>
                                  </a:cxn>
                                  <a:cxn ang="0">
                                    <a:pos x="6" y="65"/>
                                  </a:cxn>
                                  <a:cxn ang="0">
                                    <a:pos x="11" y="62"/>
                                  </a:cxn>
                                  <a:cxn ang="0">
                                    <a:pos x="16" y="57"/>
                                  </a:cxn>
                                  <a:cxn ang="0">
                                    <a:pos x="14" y="50"/>
                                  </a:cxn>
                                  <a:cxn ang="0">
                                    <a:pos x="14" y="46"/>
                                  </a:cxn>
                                  <a:cxn ang="0">
                                    <a:pos x="16" y="42"/>
                                  </a:cxn>
                                  <a:cxn ang="0">
                                    <a:pos x="17" y="37"/>
                                  </a:cxn>
                                  <a:cxn ang="0">
                                    <a:pos x="23" y="35"/>
                                  </a:cxn>
                                  <a:cxn ang="0">
                                    <a:pos x="28" y="32"/>
                                  </a:cxn>
                                  <a:cxn ang="0">
                                    <a:pos x="30" y="24"/>
                                  </a:cxn>
                                  <a:cxn ang="0">
                                    <a:pos x="36" y="27"/>
                                  </a:cxn>
                                  <a:cxn ang="0">
                                    <a:pos x="38" y="31"/>
                                  </a:cxn>
                                  <a:cxn ang="0">
                                    <a:pos x="39" y="39"/>
                                  </a:cxn>
                                  <a:cxn ang="0">
                                    <a:pos x="41" y="43"/>
                                  </a:cxn>
                                  <a:cxn ang="0">
                                    <a:pos x="50" y="45"/>
                                  </a:cxn>
                                  <a:cxn ang="0">
                                    <a:pos x="57" y="44"/>
                                  </a:cxn>
                                  <a:cxn ang="0">
                                    <a:pos x="59" y="44"/>
                                  </a:cxn>
                                  <a:cxn ang="0">
                                    <a:pos x="58" y="40"/>
                                  </a:cxn>
                                  <a:cxn ang="0">
                                    <a:pos x="59" y="37"/>
                                  </a:cxn>
                                  <a:cxn ang="0">
                                    <a:pos x="57" y="34"/>
                                  </a:cxn>
                                  <a:cxn ang="0">
                                    <a:pos x="61" y="23"/>
                                  </a:cxn>
                                  <a:cxn ang="0">
                                    <a:pos x="69" y="20"/>
                                  </a:cxn>
                                  <a:cxn ang="0">
                                    <a:pos x="74" y="19"/>
                                  </a:cxn>
                                  <a:cxn ang="0">
                                    <a:pos x="77" y="12"/>
                                  </a:cxn>
                                  <a:cxn ang="0">
                                    <a:pos x="82" y="13"/>
                                  </a:cxn>
                                  <a:cxn ang="0">
                                    <a:pos x="86" y="10"/>
                                  </a:cxn>
                                  <a:cxn ang="0">
                                    <a:pos x="94" y="8"/>
                                  </a:cxn>
                                  <a:cxn ang="0">
                                    <a:pos x="101" y="2"/>
                                  </a:cxn>
                                </a:cxnLst>
                                <a:rect l="0" t="0" r="r" b="b"/>
                                <a:pathLst>
                                  <a:path w="168" h="97">
                                    <a:moveTo>
                                      <a:pt x="101" y="2"/>
                                    </a:moveTo>
                                    <a:lnTo>
                                      <a:pt x="102" y="2"/>
                                    </a:lnTo>
                                    <a:lnTo>
                                      <a:pt x="102" y="2"/>
                                    </a:lnTo>
                                    <a:lnTo>
                                      <a:pt x="103" y="2"/>
                                    </a:lnTo>
                                    <a:lnTo>
                                      <a:pt x="103" y="1"/>
                                    </a:lnTo>
                                    <a:lnTo>
                                      <a:pt x="104" y="1"/>
                                    </a:lnTo>
                                    <a:lnTo>
                                      <a:pt x="104" y="0"/>
                                    </a:lnTo>
                                    <a:lnTo>
                                      <a:pt x="104" y="0"/>
                                    </a:lnTo>
                                    <a:lnTo>
                                      <a:pt x="109" y="0"/>
                                    </a:lnTo>
                                    <a:lnTo>
                                      <a:pt x="109" y="1"/>
                                    </a:lnTo>
                                    <a:lnTo>
                                      <a:pt x="109" y="1"/>
                                    </a:lnTo>
                                    <a:lnTo>
                                      <a:pt x="110" y="1"/>
                                    </a:lnTo>
                                    <a:lnTo>
                                      <a:pt x="110" y="2"/>
                                    </a:lnTo>
                                    <a:lnTo>
                                      <a:pt x="110" y="2"/>
                                    </a:lnTo>
                                    <a:lnTo>
                                      <a:pt x="110" y="2"/>
                                    </a:lnTo>
                                    <a:lnTo>
                                      <a:pt x="111" y="2"/>
                                    </a:lnTo>
                                    <a:lnTo>
                                      <a:pt x="111" y="2"/>
                                    </a:lnTo>
                                    <a:lnTo>
                                      <a:pt x="111" y="2"/>
                                    </a:lnTo>
                                    <a:lnTo>
                                      <a:pt x="111" y="3"/>
                                    </a:lnTo>
                                    <a:lnTo>
                                      <a:pt x="111" y="3"/>
                                    </a:lnTo>
                                    <a:lnTo>
                                      <a:pt x="111" y="4"/>
                                    </a:lnTo>
                                    <a:lnTo>
                                      <a:pt x="111" y="4"/>
                                    </a:lnTo>
                                    <a:lnTo>
                                      <a:pt x="111" y="5"/>
                                    </a:lnTo>
                                    <a:lnTo>
                                      <a:pt x="111" y="5"/>
                                    </a:lnTo>
                                    <a:lnTo>
                                      <a:pt x="111" y="5"/>
                                    </a:lnTo>
                                    <a:lnTo>
                                      <a:pt x="112" y="5"/>
                                    </a:lnTo>
                                    <a:lnTo>
                                      <a:pt x="112" y="5"/>
                                    </a:lnTo>
                                    <a:lnTo>
                                      <a:pt x="112" y="5"/>
                                    </a:lnTo>
                                    <a:lnTo>
                                      <a:pt x="113" y="5"/>
                                    </a:lnTo>
                                    <a:lnTo>
                                      <a:pt x="113" y="6"/>
                                    </a:lnTo>
                                    <a:lnTo>
                                      <a:pt x="113" y="6"/>
                                    </a:lnTo>
                                    <a:lnTo>
                                      <a:pt x="113" y="7"/>
                                    </a:lnTo>
                                    <a:lnTo>
                                      <a:pt x="113" y="7"/>
                                    </a:lnTo>
                                    <a:lnTo>
                                      <a:pt x="113" y="7"/>
                                    </a:lnTo>
                                    <a:lnTo>
                                      <a:pt x="113" y="8"/>
                                    </a:lnTo>
                                    <a:lnTo>
                                      <a:pt x="113" y="8"/>
                                    </a:lnTo>
                                    <a:lnTo>
                                      <a:pt x="113" y="8"/>
                                    </a:lnTo>
                                    <a:lnTo>
                                      <a:pt x="113" y="8"/>
                                    </a:lnTo>
                                    <a:lnTo>
                                      <a:pt x="114" y="9"/>
                                    </a:lnTo>
                                    <a:lnTo>
                                      <a:pt x="114" y="9"/>
                                    </a:lnTo>
                                    <a:lnTo>
                                      <a:pt x="114" y="9"/>
                                    </a:lnTo>
                                    <a:lnTo>
                                      <a:pt x="116" y="9"/>
                                    </a:lnTo>
                                    <a:lnTo>
                                      <a:pt x="118" y="9"/>
                                    </a:lnTo>
                                    <a:lnTo>
                                      <a:pt x="119" y="9"/>
                                    </a:lnTo>
                                    <a:lnTo>
                                      <a:pt x="121" y="9"/>
                                    </a:lnTo>
                                    <a:lnTo>
                                      <a:pt x="122" y="9"/>
                                    </a:lnTo>
                                    <a:lnTo>
                                      <a:pt x="122" y="9"/>
                                    </a:lnTo>
                                    <a:lnTo>
                                      <a:pt x="122" y="9"/>
                                    </a:lnTo>
                                    <a:lnTo>
                                      <a:pt x="122" y="8"/>
                                    </a:lnTo>
                                    <a:lnTo>
                                      <a:pt x="123" y="8"/>
                                    </a:lnTo>
                                    <a:lnTo>
                                      <a:pt x="123" y="8"/>
                                    </a:lnTo>
                                    <a:lnTo>
                                      <a:pt x="123" y="7"/>
                                    </a:lnTo>
                                    <a:lnTo>
                                      <a:pt x="123" y="7"/>
                                    </a:lnTo>
                                    <a:lnTo>
                                      <a:pt x="123" y="7"/>
                                    </a:lnTo>
                                    <a:lnTo>
                                      <a:pt x="124" y="7"/>
                                    </a:lnTo>
                                    <a:lnTo>
                                      <a:pt x="124" y="7"/>
                                    </a:lnTo>
                                    <a:lnTo>
                                      <a:pt x="125" y="6"/>
                                    </a:lnTo>
                                    <a:lnTo>
                                      <a:pt x="125" y="6"/>
                                    </a:lnTo>
                                    <a:lnTo>
                                      <a:pt x="126" y="6"/>
                                    </a:lnTo>
                                    <a:lnTo>
                                      <a:pt x="126" y="5"/>
                                    </a:lnTo>
                                    <a:lnTo>
                                      <a:pt x="126" y="5"/>
                                    </a:lnTo>
                                    <a:lnTo>
                                      <a:pt x="127" y="5"/>
                                    </a:lnTo>
                                    <a:lnTo>
                                      <a:pt x="127" y="5"/>
                                    </a:lnTo>
                                    <a:lnTo>
                                      <a:pt x="127" y="5"/>
                                    </a:lnTo>
                                    <a:lnTo>
                                      <a:pt x="128" y="5"/>
                                    </a:lnTo>
                                    <a:lnTo>
                                      <a:pt x="128" y="4"/>
                                    </a:lnTo>
                                    <a:lnTo>
                                      <a:pt x="128" y="4"/>
                                    </a:lnTo>
                                    <a:lnTo>
                                      <a:pt x="128" y="4"/>
                                    </a:lnTo>
                                    <a:lnTo>
                                      <a:pt x="129" y="4"/>
                                    </a:lnTo>
                                    <a:lnTo>
                                      <a:pt x="129" y="4"/>
                                    </a:lnTo>
                                    <a:lnTo>
                                      <a:pt x="130" y="4"/>
                                    </a:lnTo>
                                    <a:lnTo>
                                      <a:pt x="131" y="4"/>
                                    </a:lnTo>
                                    <a:lnTo>
                                      <a:pt x="131" y="4"/>
                                    </a:lnTo>
                                    <a:lnTo>
                                      <a:pt x="131" y="5"/>
                                    </a:lnTo>
                                    <a:lnTo>
                                      <a:pt x="131" y="5"/>
                                    </a:lnTo>
                                    <a:lnTo>
                                      <a:pt x="131" y="5"/>
                                    </a:lnTo>
                                    <a:lnTo>
                                      <a:pt x="132" y="5"/>
                                    </a:lnTo>
                                    <a:lnTo>
                                      <a:pt x="132" y="5"/>
                                    </a:lnTo>
                                    <a:lnTo>
                                      <a:pt x="132" y="5"/>
                                    </a:lnTo>
                                    <a:lnTo>
                                      <a:pt x="133" y="5"/>
                                    </a:lnTo>
                                    <a:lnTo>
                                      <a:pt x="133" y="6"/>
                                    </a:lnTo>
                                    <a:lnTo>
                                      <a:pt x="133" y="7"/>
                                    </a:lnTo>
                                    <a:lnTo>
                                      <a:pt x="133" y="8"/>
                                    </a:lnTo>
                                    <a:lnTo>
                                      <a:pt x="133" y="9"/>
                                    </a:lnTo>
                                    <a:lnTo>
                                      <a:pt x="133" y="9"/>
                                    </a:lnTo>
                                    <a:lnTo>
                                      <a:pt x="133" y="9"/>
                                    </a:lnTo>
                                    <a:lnTo>
                                      <a:pt x="133" y="10"/>
                                    </a:lnTo>
                                    <a:lnTo>
                                      <a:pt x="133" y="10"/>
                                    </a:lnTo>
                                    <a:lnTo>
                                      <a:pt x="133" y="10"/>
                                    </a:lnTo>
                                    <a:lnTo>
                                      <a:pt x="134" y="10"/>
                                    </a:lnTo>
                                    <a:lnTo>
                                      <a:pt x="134" y="10"/>
                                    </a:lnTo>
                                    <a:lnTo>
                                      <a:pt x="134" y="10"/>
                                    </a:lnTo>
                                    <a:lnTo>
                                      <a:pt x="134" y="11"/>
                                    </a:lnTo>
                                    <a:lnTo>
                                      <a:pt x="135" y="11"/>
                                    </a:lnTo>
                                    <a:lnTo>
                                      <a:pt x="135" y="11"/>
                                    </a:lnTo>
                                    <a:lnTo>
                                      <a:pt x="135" y="12"/>
                                    </a:lnTo>
                                    <a:lnTo>
                                      <a:pt x="135" y="12"/>
                                    </a:lnTo>
                                    <a:lnTo>
                                      <a:pt x="135" y="12"/>
                                    </a:lnTo>
                                    <a:lnTo>
                                      <a:pt x="136" y="12"/>
                                    </a:lnTo>
                                    <a:lnTo>
                                      <a:pt x="136" y="12"/>
                                    </a:lnTo>
                                    <a:lnTo>
                                      <a:pt x="136" y="12"/>
                                    </a:lnTo>
                                    <a:lnTo>
                                      <a:pt x="136" y="12"/>
                                    </a:lnTo>
                                    <a:lnTo>
                                      <a:pt x="136" y="13"/>
                                    </a:lnTo>
                                    <a:lnTo>
                                      <a:pt x="137" y="13"/>
                                    </a:lnTo>
                                    <a:lnTo>
                                      <a:pt x="137" y="13"/>
                                    </a:lnTo>
                                    <a:lnTo>
                                      <a:pt x="138" y="13"/>
                                    </a:lnTo>
                                    <a:lnTo>
                                      <a:pt x="138" y="13"/>
                                    </a:lnTo>
                                    <a:lnTo>
                                      <a:pt x="139" y="13"/>
                                    </a:lnTo>
                                    <a:lnTo>
                                      <a:pt x="139" y="14"/>
                                    </a:lnTo>
                                    <a:lnTo>
                                      <a:pt x="141" y="14"/>
                                    </a:lnTo>
                                    <a:lnTo>
                                      <a:pt x="143" y="14"/>
                                    </a:lnTo>
                                    <a:lnTo>
                                      <a:pt x="144" y="14"/>
                                    </a:lnTo>
                                    <a:lnTo>
                                      <a:pt x="146" y="14"/>
                                    </a:lnTo>
                                    <a:lnTo>
                                      <a:pt x="146" y="14"/>
                                    </a:lnTo>
                                    <a:lnTo>
                                      <a:pt x="146" y="14"/>
                                    </a:lnTo>
                                    <a:lnTo>
                                      <a:pt x="146" y="14"/>
                                    </a:lnTo>
                                    <a:lnTo>
                                      <a:pt x="147" y="15"/>
                                    </a:lnTo>
                                    <a:lnTo>
                                      <a:pt x="147" y="15"/>
                                    </a:lnTo>
                                    <a:lnTo>
                                      <a:pt x="148" y="15"/>
                                    </a:lnTo>
                                    <a:lnTo>
                                      <a:pt x="148" y="15"/>
                                    </a:lnTo>
                                    <a:lnTo>
                                      <a:pt x="149" y="15"/>
                                    </a:lnTo>
                                    <a:lnTo>
                                      <a:pt x="149" y="15"/>
                                    </a:lnTo>
                                    <a:lnTo>
                                      <a:pt x="150" y="15"/>
                                    </a:lnTo>
                                    <a:lnTo>
                                      <a:pt x="150" y="15"/>
                                    </a:lnTo>
                                    <a:lnTo>
                                      <a:pt x="151" y="15"/>
                                    </a:lnTo>
                                    <a:lnTo>
                                      <a:pt x="151" y="15"/>
                                    </a:lnTo>
                                    <a:lnTo>
                                      <a:pt x="151" y="16"/>
                                    </a:lnTo>
                                    <a:lnTo>
                                      <a:pt x="152" y="16"/>
                                    </a:lnTo>
                                    <a:lnTo>
                                      <a:pt x="152" y="17"/>
                                    </a:lnTo>
                                    <a:lnTo>
                                      <a:pt x="152" y="18"/>
                                    </a:lnTo>
                                    <a:lnTo>
                                      <a:pt x="152" y="19"/>
                                    </a:lnTo>
                                    <a:lnTo>
                                      <a:pt x="153" y="19"/>
                                    </a:lnTo>
                                    <a:lnTo>
                                      <a:pt x="153" y="21"/>
                                    </a:lnTo>
                                    <a:lnTo>
                                      <a:pt x="153" y="22"/>
                                    </a:lnTo>
                                    <a:lnTo>
                                      <a:pt x="153" y="23"/>
                                    </a:lnTo>
                                    <a:lnTo>
                                      <a:pt x="153" y="23"/>
                                    </a:lnTo>
                                    <a:lnTo>
                                      <a:pt x="153" y="24"/>
                                    </a:lnTo>
                                    <a:lnTo>
                                      <a:pt x="154" y="25"/>
                                    </a:lnTo>
                                    <a:lnTo>
                                      <a:pt x="155" y="25"/>
                                    </a:lnTo>
                                    <a:lnTo>
                                      <a:pt x="155" y="25"/>
                                    </a:lnTo>
                                    <a:lnTo>
                                      <a:pt x="156" y="25"/>
                                    </a:lnTo>
                                    <a:lnTo>
                                      <a:pt x="156" y="25"/>
                                    </a:lnTo>
                                    <a:lnTo>
                                      <a:pt x="156" y="25"/>
                                    </a:lnTo>
                                    <a:lnTo>
                                      <a:pt x="157" y="25"/>
                                    </a:lnTo>
                                    <a:lnTo>
                                      <a:pt x="157" y="25"/>
                                    </a:lnTo>
                                    <a:lnTo>
                                      <a:pt x="158" y="25"/>
                                    </a:lnTo>
                                    <a:lnTo>
                                      <a:pt x="158" y="26"/>
                                    </a:lnTo>
                                    <a:lnTo>
                                      <a:pt x="159" y="27"/>
                                    </a:lnTo>
                                    <a:lnTo>
                                      <a:pt x="159" y="28"/>
                                    </a:lnTo>
                                    <a:lnTo>
                                      <a:pt x="160" y="28"/>
                                    </a:lnTo>
                                    <a:lnTo>
                                      <a:pt x="160" y="29"/>
                                    </a:lnTo>
                                    <a:lnTo>
                                      <a:pt x="161" y="30"/>
                                    </a:lnTo>
                                    <a:lnTo>
                                      <a:pt x="162" y="30"/>
                                    </a:lnTo>
                                    <a:lnTo>
                                      <a:pt x="163" y="30"/>
                                    </a:lnTo>
                                    <a:lnTo>
                                      <a:pt x="163" y="31"/>
                                    </a:lnTo>
                                    <a:lnTo>
                                      <a:pt x="162" y="31"/>
                                    </a:lnTo>
                                    <a:lnTo>
                                      <a:pt x="162" y="32"/>
                                    </a:lnTo>
                                    <a:lnTo>
                                      <a:pt x="162" y="33"/>
                                    </a:lnTo>
                                    <a:lnTo>
                                      <a:pt x="163" y="34"/>
                                    </a:lnTo>
                                    <a:lnTo>
                                      <a:pt x="163" y="34"/>
                                    </a:lnTo>
                                    <a:lnTo>
                                      <a:pt x="163" y="35"/>
                                    </a:lnTo>
                                    <a:lnTo>
                                      <a:pt x="164" y="35"/>
                                    </a:lnTo>
                                    <a:lnTo>
                                      <a:pt x="164" y="36"/>
                                    </a:lnTo>
                                    <a:lnTo>
                                      <a:pt x="165" y="36"/>
                                    </a:lnTo>
                                    <a:lnTo>
                                      <a:pt x="165" y="37"/>
                                    </a:lnTo>
                                    <a:lnTo>
                                      <a:pt x="166" y="37"/>
                                    </a:lnTo>
                                    <a:lnTo>
                                      <a:pt x="166" y="38"/>
                                    </a:lnTo>
                                    <a:lnTo>
                                      <a:pt x="166" y="38"/>
                                    </a:lnTo>
                                    <a:lnTo>
                                      <a:pt x="166" y="39"/>
                                    </a:lnTo>
                                    <a:lnTo>
                                      <a:pt x="166" y="40"/>
                                    </a:lnTo>
                                    <a:lnTo>
                                      <a:pt x="166" y="40"/>
                                    </a:lnTo>
                                    <a:lnTo>
                                      <a:pt x="165" y="40"/>
                                    </a:lnTo>
                                    <a:lnTo>
                                      <a:pt x="165" y="40"/>
                                    </a:lnTo>
                                    <a:lnTo>
                                      <a:pt x="165" y="41"/>
                                    </a:lnTo>
                                    <a:lnTo>
                                      <a:pt x="165" y="41"/>
                                    </a:lnTo>
                                    <a:lnTo>
                                      <a:pt x="164" y="41"/>
                                    </a:lnTo>
                                    <a:lnTo>
                                      <a:pt x="164" y="42"/>
                                    </a:lnTo>
                                    <a:lnTo>
                                      <a:pt x="164" y="42"/>
                                    </a:lnTo>
                                    <a:lnTo>
                                      <a:pt x="164" y="42"/>
                                    </a:lnTo>
                                    <a:lnTo>
                                      <a:pt x="164" y="43"/>
                                    </a:lnTo>
                                    <a:lnTo>
                                      <a:pt x="164" y="43"/>
                                    </a:lnTo>
                                    <a:lnTo>
                                      <a:pt x="164" y="44"/>
                                    </a:lnTo>
                                    <a:lnTo>
                                      <a:pt x="164" y="44"/>
                                    </a:lnTo>
                                    <a:lnTo>
                                      <a:pt x="164" y="44"/>
                                    </a:lnTo>
                                    <a:lnTo>
                                      <a:pt x="164" y="45"/>
                                    </a:lnTo>
                                    <a:lnTo>
                                      <a:pt x="165" y="45"/>
                                    </a:lnTo>
                                    <a:lnTo>
                                      <a:pt x="165" y="45"/>
                                    </a:lnTo>
                                    <a:lnTo>
                                      <a:pt x="165" y="45"/>
                                    </a:lnTo>
                                    <a:lnTo>
                                      <a:pt x="166" y="45"/>
                                    </a:lnTo>
                                    <a:lnTo>
                                      <a:pt x="166" y="45"/>
                                    </a:lnTo>
                                    <a:lnTo>
                                      <a:pt x="166" y="46"/>
                                    </a:lnTo>
                                    <a:lnTo>
                                      <a:pt x="166" y="46"/>
                                    </a:lnTo>
                                    <a:lnTo>
                                      <a:pt x="166" y="47"/>
                                    </a:lnTo>
                                    <a:lnTo>
                                      <a:pt x="166" y="47"/>
                                    </a:lnTo>
                                    <a:lnTo>
                                      <a:pt x="166" y="47"/>
                                    </a:lnTo>
                                    <a:lnTo>
                                      <a:pt x="166" y="48"/>
                                    </a:lnTo>
                                    <a:lnTo>
                                      <a:pt x="166" y="48"/>
                                    </a:lnTo>
                                    <a:lnTo>
                                      <a:pt x="166" y="48"/>
                                    </a:lnTo>
                                    <a:lnTo>
                                      <a:pt x="167" y="48"/>
                                    </a:lnTo>
                                    <a:lnTo>
                                      <a:pt x="167" y="48"/>
                                    </a:lnTo>
                                    <a:lnTo>
                                      <a:pt x="167" y="49"/>
                                    </a:lnTo>
                                    <a:lnTo>
                                      <a:pt x="168" y="49"/>
                                    </a:lnTo>
                                    <a:lnTo>
                                      <a:pt x="168" y="49"/>
                                    </a:lnTo>
                                    <a:lnTo>
                                      <a:pt x="168" y="49"/>
                                    </a:lnTo>
                                    <a:lnTo>
                                      <a:pt x="168" y="50"/>
                                    </a:lnTo>
                                    <a:lnTo>
                                      <a:pt x="168" y="50"/>
                                    </a:lnTo>
                                    <a:lnTo>
                                      <a:pt x="168" y="50"/>
                                    </a:lnTo>
                                    <a:lnTo>
                                      <a:pt x="167" y="50"/>
                                    </a:lnTo>
                                    <a:lnTo>
                                      <a:pt x="167" y="51"/>
                                    </a:lnTo>
                                    <a:lnTo>
                                      <a:pt x="167" y="51"/>
                                    </a:lnTo>
                                    <a:lnTo>
                                      <a:pt x="167" y="52"/>
                                    </a:lnTo>
                                    <a:lnTo>
                                      <a:pt x="167" y="52"/>
                                    </a:lnTo>
                                    <a:lnTo>
                                      <a:pt x="167" y="53"/>
                                    </a:lnTo>
                                    <a:lnTo>
                                      <a:pt x="167" y="54"/>
                                    </a:lnTo>
                                    <a:lnTo>
                                      <a:pt x="167" y="55"/>
                                    </a:lnTo>
                                    <a:lnTo>
                                      <a:pt x="168" y="55"/>
                                    </a:lnTo>
                                    <a:lnTo>
                                      <a:pt x="168" y="56"/>
                                    </a:lnTo>
                                    <a:lnTo>
                                      <a:pt x="168" y="57"/>
                                    </a:lnTo>
                                    <a:lnTo>
                                      <a:pt x="168" y="58"/>
                                    </a:lnTo>
                                    <a:lnTo>
                                      <a:pt x="168" y="59"/>
                                    </a:lnTo>
                                    <a:lnTo>
                                      <a:pt x="168" y="60"/>
                                    </a:lnTo>
                                    <a:lnTo>
                                      <a:pt x="168" y="61"/>
                                    </a:lnTo>
                                    <a:lnTo>
                                      <a:pt x="168" y="62"/>
                                    </a:lnTo>
                                    <a:lnTo>
                                      <a:pt x="166" y="65"/>
                                    </a:lnTo>
                                    <a:lnTo>
                                      <a:pt x="164" y="67"/>
                                    </a:lnTo>
                                    <a:lnTo>
                                      <a:pt x="164" y="68"/>
                                    </a:lnTo>
                                    <a:lnTo>
                                      <a:pt x="163" y="70"/>
                                    </a:lnTo>
                                    <a:lnTo>
                                      <a:pt x="162" y="71"/>
                                    </a:lnTo>
                                    <a:lnTo>
                                      <a:pt x="161" y="72"/>
                                    </a:lnTo>
                                    <a:lnTo>
                                      <a:pt x="158" y="72"/>
                                    </a:lnTo>
                                    <a:lnTo>
                                      <a:pt x="155" y="72"/>
                                    </a:lnTo>
                                    <a:lnTo>
                                      <a:pt x="152" y="72"/>
                                    </a:lnTo>
                                    <a:lnTo>
                                      <a:pt x="149" y="72"/>
                                    </a:lnTo>
                                    <a:lnTo>
                                      <a:pt x="149" y="73"/>
                                    </a:lnTo>
                                    <a:lnTo>
                                      <a:pt x="149" y="73"/>
                                    </a:lnTo>
                                    <a:lnTo>
                                      <a:pt x="148" y="74"/>
                                    </a:lnTo>
                                    <a:lnTo>
                                      <a:pt x="148" y="75"/>
                                    </a:lnTo>
                                    <a:lnTo>
                                      <a:pt x="147" y="76"/>
                                    </a:lnTo>
                                    <a:lnTo>
                                      <a:pt x="146" y="77"/>
                                    </a:lnTo>
                                    <a:lnTo>
                                      <a:pt x="145" y="79"/>
                                    </a:lnTo>
                                    <a:lnTo>
                                      <a:pt x="144" y="79"/>
                                    </a:lnTo>
                                    <a:lnTo>
                                      <a:pt x="144" y="80"/>
                                    </a:lnTo>
                                    <a:lnTo>
                                      <a:pt x="144" y="81"/>
                                    </a:lnTo>
                                    <a:lnTo>
                                      <a:pt x="143" y="82"/>
                                    </a:lnTo>
                                    <a:lnTo>
                                      <a:pt x="143" y="83"/>
                                    </a:lnTo>
                                    <a:lnTo>
                                      <a:pt x="143" y="83"/>
                                    </a:lnTo>
                                    <a:lnTo>
                                      <a:pt x="142" y="84"/>
                                    </a:lnTo>
                                    <a:lnTo>
                                      <a:pt x="141" y="84"/>
                                    </a:lnTo>
                                    <a:lnTo>
                                      <a:pt x="140" y="84"/>
                                    </a:lnTo>
                                    <a:lnTo>
                                      <a:pt x="139" y="84"/>
                                    </a:lnTo>
                                    <a:lnTo>
                                      <a:pt x="138" y="84"/>
                                    </a:lnTo>
                                    <a:lnTo>
                                      <a:pt x="138" y="83"/>
                                    </a:lnTo>
                                    <a:lnTo>
                                      <a:pt x="136" y="83"/>
                                    </a:lnTo>
                                    <a:lnTo>
                                      <a:pt x="135" y="83"/>
                                    </a:lnTo>
                                    <a:lnTo>
                                      <a:pt x="134" y="82"/>
                                    </a:lnTo>
                                    <a:lnTo>
                                      <a:pt x="132" y="82"/>
                                    </a:lnTo>
                                    <a:lnTo>
                                      <a:pt x="131" y="82"/>
                                    </a:lnTo>
                                    <a:lnTo>
                                      <a:pt x="130" y="82"/>
                                    </a:lnTo>
                                    <a:lnTo>
                                      <a:pt x="130" y="83"/>
                                    </a:lnTo>
                                    <a:lnTo>
                                      <a:pt x="129" y="83"/>
                                    </a:lnTo>
                                    <a:lnTo>
                                      <a:pt x="129" y="84"/>
                                    </a:lnTo>
                                    <a:lnTo>
                                      <a:pt x="128" y="84"/>
                                    </a:lnTo>
                                    <a:lnTo>
                                      <a:pt x="128" y="85"/>
                                    </a:lnTo>
                                    <a:lnTo>
                                      <a:pt x="128" y="86"/>
                                    </a:lnTo>
                                    <a:lnTo>
                                      <a:pt x="128" y="87"/>
                                    </a:lnTo>
                                    <a:lnTo>
                                      <a:pt x="127" y="87"/>
                                    </a:lnTo>
                                    <a:lnTo>
                                      <a:pt x="127" y="87"/>
                                    </a:lnTo>
                                    <a:lnTo>
                                      <a:pt x="127" y="87"/>
                                    </a:lnTo>
                                    <a:lnTo>
                                      <a:pt x="126" y="87"/>
                                    </a:lnTo>
                                    <a:lnTo>
                                      <a:pt x="126" y="88"/>
                                    </a:lnTo>
                                    <a:lnTo>
                                      <a:pt x="126" y="88"/>
                                    </a:lnTo>
                                    <a:lnTo>
                                      <a:pt x="126" y="88"/>
                                    </a:lnTo>
                                    <a:lnTo>
                                      <a:pt x="126" y="89"/>
                                    </a:lnTo>
                                    <a:lnTo>
                                      <a:pt x="125" y="91"/>
                                    </a:lnTo>
                                    <a:lnTo>
                                      <a:pt x="123" y="93"/>
                                    </a:lnTo>
                                    <a:lnTo>
                                      <a:pt x="121" y="95"/>
                                    </a:lnTo>
                                    <a:lnTo>
                                      <a:pt x="119" y="97"/>
                                    </a:lnTo>
                                    <a:lnTo>
                                      <a:pt x="119" y="97"/>
                                    </a:lnTo>
                                    <a:lnTo>
                                      <a:pt x="119" y="97"/>
                                    </a:lnTo>
                                    <a:lnTo>
                                      <a:pt x="118" y="97"/>
                                    </a:lnTo>
                                    <a:lnTo>
                                      <a:pt x="118" y="97"/>
                                    </a:lnTo>
                                    <a:lnTo>
                                      <a:pt x="117" y="96"/>
                                    </a:lnTo>
                                    <a:lnTo>
                                      <a:pt x="116" y="96"/>
                                    </a:lnTo>
                                    <a:lnTo>
                                      <a:pt x="115" y="95"/>
                                    </a:lnTo>
                                    <a:lnTo>
                                      <a:pt x="115" y="94"/>
                                    </a:lnTo>
                                    <a:lnTo>
                                      <a:pt x="113" y="93"/>
                                    </a:lnTo>
                                    <a:lnTo>
                                      <a:pt x="112" y="92"/>
                                    </a:lnTo>
                                    <a:lnTo>
                                      <a:pt x="111" y="90"/>
                                    </a:lnTo>
                                    <a:lnTo>
                                      <a:pt x="109" y="89"/>
                                    </a:lnTo>
                                    <a:lnTo>
                                      <a:pt x="109" y="88"/>
                                    </a:lnTo>
                                    <a:lnTo>
                                      <a:pt x="108" y="88"/>
                                    </a:lnTo>
                                    <a:lnTo>
                                      <a:pt x="107" y="87"/>
                                    </a:lnTo>
                                    <a:lnTo>
                                      <a:pt x="106" y="87"/>
                                    </a:lnTo>
                                    <a:lnTo>
                                      <a:pt x="106" y="86"/>
                                    </a:lnTo>
                                    <a:lnTo>
                                      <a:pt x="106" y="86"/>
                                    </a:lnTo>
                                    <a:lnTo>
                                      <a:pt x="106" y="86"/>
                                    </a:lnTo>
                                    <a:lnTo>
                                      <a:pt x="106" y="85"/>
                                    </a:lnTo>
                                    <a:lnTo>
                                      <a:pt x="105" y="85"/>
                                    </a:lnTo>
                                    <a:lnTo>
                                      <a:pt x="105" y="85"/>
                                    </a:lnTo>
                                    <a:lnTo>
                                      <a:pt x="105" y="85"/>
                                    </a:lnTo>
                                    <a:lnTo>
                                      <a:pt x="104" y="85"/>
                                    </a:lnTo>
                                    <a:lnTo>
                                      <a:pt x="103" y="85"/>
                                    </a:lnTo>
                                    <a:lnTo>
                                      <a:pt x="101" y="85"/>
                                    </a:lnTo>
                                    <a:lnTo>
                                      <a:pt x="100" y="85"/>
                                    </a:lnTo>
                                    <a:lnTo>
                                      <a:pt x="98" y="85"/>
                                    </a:lnTo>
                                    <a:lnTo>
                                      <a:pt x="97" y="85"/>
                                    </a:lnTo>
                                    <a:lnTo>
                                      <a:pt x="96" y="85"/>
                                    </a:lnTo>
                                    <a:lnTo>
                                      <a:pt x="94" y="85"/>
                                    </a:lnTo>
                                    <a:lnTo>
                                      <a:pt x="93" y="86"/>
                                    </a:lnTo>
                                    <a:lnTo>
                                      <a:pt x="92" y="86"/>
                                    </a:lnTo>
                                    <a:lnTo>
                                      <a:pt x="91" y="86"/>
                                    </a:lnTo>
                                    <a:lnTo>
                                      <a:pt x="90" y="87"/>
                                    </a:lnTo>
                                    <a:lnTo>
                                      <a:pt x="89" y="88"/>
                                    </a:lnTo>
                                    <a:lnTo>
                                      <a:pt x="88" y="88"/>
                                    </a:lnTo>
                                    <a:lnTo>
                                      <a:pt x="88" y="89"/>
                                    </a:lnTo>
                                    <a:lnTo>
                                      <a:pt x="87" y="89"/>
                                    </a:lnTo>
                                    <a:lnTo>
                                      <a:pt x="86" y="90"/>
                                    </a:lnTo>
                                    <a:lnTo>
                                      <a:pt x="83" y="90"/>
                                    </a:lnTo>
                                    <a:lnTo>
                                      <a:pt x="80" y="90"/>
                                    </a:lnTo>
                                    <a:lnTo>
                                      <a:pt x="77" y="90"/>
                                    </a:lnTo>
                                    <a:lnTo>
                                      <a:pt x="74" y="90"/>
                                    </a:lnTo>
                                    <a:lnTo>
                                      <a:pt x="73" y="90"/>
                                    </a:lnTo>
                                    <a:lnTo>
                                      <a:pt x="72" y="91"/>
                                    </a:lnTo>
                                    <a:lnTo>
                                      <a:pt x="72" y="91"/>
                                    </a:lnTo>
                                    <a:lnTo>
                                      <a:pt x="71" y="91"/>
                                    </a:lnTo>
                                    <a:lnTo>
                                      <a:pt x="70" y="92"/>
                                    </a:lnTo>
                                    <a:lnTo>
                                      <a:pt x="70" y="92"/>
                                    </a:lnTo>
                                    <a:lnTo>
                                      <a:pt x="68" y="93"/>
                                    </a:lnTo>
                                    <a:lnTo>
                                      <a:pt x="67" y="94"/>
                                    </a:lnTo>
                                    <a:lnTo>
                                      <a:pt x="67" y="95"/>
                                    </a:lnTo>
                                    <a:lnTo>
                                      <a:pt x="66" y="95"/>
                                    </a:lnTo>
                                    <a:lnTo>
                                      <a:pt x="65" y="96"/>
                                    </a:lnTo>
                                    <a:lnTo>
                                      <a:pt x="65" y="96"/>
                                    </a:lnTo>
                                    <a:lnTo>
                                      <a:pt x="64" y="97"/>
                                    </a:lnTo>
                                    <a:lnTo>
                                      <a:pt x="63" y="97"/>
                                    </a:lnTo>
                                    <a:lnTo>
                                      <a:pt x="61" y="97"/>
                                    </a:lnTo>
                                    <a:lnTo>
                                      <a:pt x="60" y="97"/>
                                    </a:lnTo>
                                    <a:lnTo>
                                      <a:pt x="59" y="97"/>
                                    </a:lnTo>
                                    <a:lnTo>
                                      <a:pt x="57" y="97"/>
                                    </a:lnTo>
                                    <a:lnTo>
                                      <a:pt x="56" y="96"/>
                                    </a:lnTo>
                                    <a:lnTo>
                                      <a:pt x="55" y="96"/>
                                    </a:lnTo>
                                    <a:lnTo>
                                      <a:pt x="54" y="96"/>
                                    </a:lnTo>
                                    <a:lnTo>
                                      <a:pt x="53" y="96"/>
                                    </a:lnTo>
                                    <a:lnTo>
                                      <a:pt x="50" y="95"/>
                                    </a:lnTo>
                                    <a:lnTo>
                                      <a:pt x="49" y="94"/>
                                    </a:lnTo>
                                    <a:lnTo>
                                      <a:pt x="47" y="93"/>
                                    </a:lnTo>
                                    <a:lnTo>
                                      <a:pt x="45" y="92"/>
                                    </a:lnTo>
                                    <a:lnTo>
                                      <a:pt x="43" y="91"/>
                                    </a:lnTo>
                                    <a:lnTo>
                                      <a:pt x="41" y="91"/>
                                    </a:lnTo>
                                    <a:lnTo>
                                      <a:pt x="39" y="90"/>
                                    </a:lnTo>
                                    <a:lnTo>
                                      <a:pt x="37" y="89"/>
                                    </a:lnTo>
                                    <a:lnTo>
                                      <a:pt x="36" y="89"/>
                                    </a:lnTo>
                                    <a:lnTo>
                                      <a:pt x="34" y="89"/>
                                    </a:lnTo>
                                    <a:lnTo>
                                      <a:pt x="33" y="88"/>
                                    </a:lnTo>
                                    <a:lnTo>
                                      <a:pt x="32" y="88"/>
                                    </a:lnTo>
                                    <a:lnTo>
                                      <a:pt x="31" y="88"/>
                                    </a:lnTo>
                                    <a:lnTo>
                                      <a:pt x="29" y="88"/>
                                    </a:lnTo>
                                    <a:lnTo>
                                      <a:pt x="28" y="88"/>
                                    </a:lnTo>
                                    <a:lnTo>
                                      <a:pt x="26" y="89"/>
                                    </a:lnTo>
                                    <a:lnTo>
                                      <a:pt x="26" y="88"/>
                                    </a:lnTo>
                                    <a:lnTo>
                                      <a:pt x="26" y="87"/>
                                    </a:lnTo>
                                    <a:lnTo>
                                      <a:pt x="26" y="87"/>
                                    </a:lnTo>
                                    <a:lnTo>
                                      <a:pt x="25" y="87"/>
                                    </a:lnTo>
                                    <a:lnTo>
                                      <a:pt x="25" y="87"/>
                                    </a:lnTo>
                                    <a:lnTo>
                                      <a:pt x="24" y="86"/>
                                    </a:lnTo>
                                    <a:lnTo>
                                      <a:pt x="24" y="86"/>
                                    </a:lnTo>
                                    <a:lnTo>
                                      <a:pt x="23" y="86"/>
                                    </a:lnTo>
                                    <a:lnTo>
                                      <a:pt x="22" y="87"/>
                                    </a:lnTo>
                                    <a:lnTo>
                                      <a:pt x="20" y="87"/>
                                    </a:lnTo>
                                    <a:lnTo>
                                      <a:pt x="19" y="87"/>
                                    </a:lnTo>
                                    <a:lnTo>
                                      <a:pt x="19" y="87"/>
                                    </a:lnTo>
                                    <a:lnTo>
                                      <a:pt x="18" y="87"/>
                                    </a:lnTo>
                                    <a:lnTo>
                                      <a:pt x="18" y="87"/>
                                    </a:lnTo>
                                    <a:lnTo>
                                      <a:pt x="8" y="87"/>
                                    </a:lnTo>
                                    <a:lnTo>
                                      <a:pt x="8" y="86"/>
                                    </a:lnTo>
                                    <a:lnTo>
                                      <a:pt x="8" y="85"/>
                                    </a:lnTo>
                                    <a:lnTo>
                                      <a:pt x="8" y="84"/>
                                    </a:lnTo>
                                    <a:lnTo>
                                      <a:pt x="8" y="83"/>
                                    </a:lnTo>
                                    <a:lnTo>
                                      <a:pt x="7" y="83"/>
                                    </a:lnTo>
                                    <a:lnTo>
                                      <a:pt x="7" y="82"/>
                                    </a:lnTo>
                                    <a:lnTo>
                                      <a:pt x="6" y="81"/>
                                    </a:lnTo>
                                    <a:lnTo>
                                      <a:pt x="6" y="80"/>
                                    </a:lnTo>
                                    <a:lnTo>
                                      <a:pt x="5" y="80"/>
                                    </a:lnTo>
                                    <a:lnTo>
                                      <a:pt x="5" y="79"/>
                                    </a:lnTo>
                                    <a:lnTo>
                                      <a:pt x="4" y="79"/>
                                    </a:lnTo>
                                    <a:lnTo>
                                      <a:pt x="3" y="79"/>
                                    </a:lnTo>
                                    <a:lnTo>
                                      <a:pt x="2" y="78"/>
                                    </a:lnTo>
                                    <a:lnTo>
                                      <a:pt x="2" y="78"/>
                                    </a:lnTo>
                                    <a:lnTo>
                                      <a:pt x="1" y="78"/>
                                    </a:lnTo>
                                    <a:lnTo>
                                      <a:pt x="1" y="77"/>
                                    </a:lnTo>
                                    <a:lnTo>
                                      <a:pt x="1" y="77"/>
                                    </a:lnTo>
                                    <a:lnTo>
                                      <a:pt x="0" y="76"/>
                                    </a:lnTo>
                                    <a:lnTo>
                                      <a:pt x="0" y="76"/>
                                    </a:lnTo>
                                    <a:lnTo>
                                      <a:pt x="0" y="75"/>
                                    </a:lnTo>
                                    <a:lnTo>
                                      <a:pt x="0" y="75"/>
                                    </a:lnTo>
                                    <a:lnTo>
                                      <a:pt x="0" y="74"/>
                                    </a:lnTo>
                                    <a:lnTo>
                                      <a:pt x="0" y="74"/>
                                    </a:lnTo>
                                    <a:lnTo>
                                      <a:pt x="0" y="73"/>
                                    </a:lnTo>
                                    <a:lnTo>
                                      <a:pt x="1" y="73"/>
                                    </a:lnTo>
                                    <a:lnTo>
                                      <a:pt x="1" y="72"/>
                                    </a:lnTo>
                                    <a:lnTo>
                                      <a:pt x="1" y="72"/>
                                    </a:lnTo>
                                    <a:lnTo>
                                      <a:pt x="1" y="71"/>
                                    </a:lnTo>
                                    <a:lnTo>
                                      <a:pt x="1" y="71"/>
                                    </a:lnTo>
                                    <a:lnTo>
                                      <a:pt x="2" y="70"/>
                                    </a:lnTo>
                                    <a:lnTo>
                                      <a:pt x="2" y="70"/>
                                    </a:lnTo>
                                    <a:lnTo>
                                      <a:pt x="2" y="69"/>
                                    </a:lnTo>
                                    <a:lnTo>
                                      <a:pt x="3" y="69"/>
                                    </a:lnTo>
                                    <a:lnTo>
                                      <a:pt x="3" y="69"/>
                                    </a:lnTo>
                                    <a:lnTo>
                                      <a:pt x="3" y="69"/>
                                    </a:lnTo>
                                    <a:lnTo>
                                      <a:pt x="4" y="69"/>
                                    </a:lnTo>
                                    <a:lnTo>
                                      <a:pt x="4" y="68"/>
                                    </a:lnTo>
                                    <a:lnTo>
                                      <a:pt x="4" y="68"/>
                                    </a:lnTo>
                                    <a:lnTo>
                                      <a:pt x="4" y="68"/>
                                    </a:lnTo>
                                    <a:lnTo>
                                      <a:pt x="4" y="68"/>
                                    </a:lnTo>
                                    <a:lnTo>
                                      <a:pt x="4" y="67"/>
                                    </a:lnTo>
                                    <a:lnTo>
                                      <a:pt x="4" y="67"/>
                                    </a:lnTo>
                                    <a:lnTo>
                                      <a:pt x="5" y="66"/>
                                    </a:lnTo>
                                    <a:lnTo>
                                      <a:pt x="5" y="66"/>
                                    </a:lnTo>
                                    <a:lnTo>
                                      <a:pt x="5" y="65"/>
                                    </a:lnTo>
                                    <a:lnTo>
                                      <a:pt x="6" y="65"/>
                                    </a:lnTo>
                                    <a:lnTo>
                                      <a:pt x="6" y="64"/>
                                    </a:lnTo>
                                    <a:lnTo>
                                      <a:pt x="7" y="64"/>
                                    </a:lnTo>
                                    <a:lnTo>
                                      <a:pt x="7" y="64"/>
                                    </a:lnTo>
                                    <a:lnTo>
                                      <a:pt x="8" y="64"/>
                                    </a:lnTo>
                                    <a:lnTo>
                                      <a:pt x="8" y="64"/>
                                    </a:lnTo>
                                    <a:lnTo>
                                      <a:pt x="9" y="64"/>
                                    </a:lnTo>
                                    <a:lnTo>
                                      <a:pt x="10" y="64"/>
                                    </a:lnTo>
                                    <a:lnTo>
                                      <a:pt x="10" y="63"/>
                                    </a:lnTo>
                                    <a:lnTo>
                                      <a:pt x="11" y="63"/>
                                    </a:lnTo>
                                    <a:lnTo>
                                      <a:pt x="11" y="63"/>
                                    </a:lnTo>
                                    <a:lnTo>
                                      <a:pt x="11" y="62"/>
                                    </a:lnTo>
                                    <a:lnTo>
                                      <a:pt x="11" y="62"/>
                                    </a:lnTo>
                                    <a:lnTo>
                                      <a:pt x="12" y="62"/>
                                    </a:lnTo>
                                    <a:lnTo>
                                      <a:pt x="12" y="61"/>
                                    </a:lnTo>
                                    <a:lnTo>
                                      <a:pt x="13" y="61"/>
                                    </a:lnTo>
                                    <a:lnTo>
                                      <a:pt x="13" y="61"/>
                                    </a:lnTo>
                                    <a:lnTo>
                                      <a:pt x="14" y="60"/>
                                    </a:lnTo>
                                    <a:lnTo>
                                      <a:pt x="14" y="60"/>
                                    </a:lnTo>
                                    <a:lnTo>
                                      <a:pt x="14" y="59"/>
                                    </a:lnTo>
                                    <a:lnTo>
                                      <a:pt x="14" y="59"/>
                                    </a:lnTo>
                                    <a:lnTo>
                                      <a:pt x="15" y="58"/>
                                    </a:lnTo>
                                    <a:lnTo>
                                      <a:pt x="15" y="58"/>
                                    </a:lnTo>
                                    <a:lnTo>
                                      <a:pt x="16" y="58"/>
                                    </a:lnTo>
                                    <a:lnTo>
                                      <a:pt x="16" y="57"/>
                                    </a:lnTo>
                                    <a:lnTo>
                                      <a:pt x="16" y="57"/>
                                    </a:lnTo>
                                    <a:lnTo>
                                      <a:pt x="16" y="57"/>
                                    </a:lnTo>
                                    <a:lnTo>
                                      <a:pt x="16" y="57"/>
                                    </a:lnTo>
                                    <a:lnTo>
                                      <a:pt x="16" y="56"/>
                                    </a:lnTo>
                                    <a:lnTo>
                                      <a:pt x="17" y="55"/>
                                    </a:lnTo>
                                    <a:lnTo>
                                      <a:pt x="16" y="55"/>
                                    </a:lnTo>
                                    <a:lnTo>
                                      <a:pt x="16" y="54"/>
                                    </a:lnTo>
                                    <a:lnTo>
                                      <a:pt x="16" y="53"/>
                                    </a:lnTo>
                                    <a:lnTo>
                                      <a:pt x="16" y="53"/>
                                    </a:lnTo>
                                    <a:lnTo>
                                      <a:pt x="15" y="52"/>
                                    </a:lnTo>
                                    <a:lnTo>
                                      <a:pt x="15" y="51"/>
                                    </a:lnTo>
                                    <a:lnTo>
                                      <a:pt x="14" y="50"/>
                                    </a:lnTo>
                                    <a:lnTo>
                                      <a:pt x="14" y="50"/>
                                    </a:lnTo>
                                    <a:lnTo>
                                      <a:pt x="13" y="49"/>
                                    </a:lnTo>
                                    <a:lnTo>
                                      <a:pt x="13" y="49"/>
                                    </a:lnTo>
                                    <a:lnTo>
                                      <a:pt x="13" y="49"/>
                                    </a:lnTo>
                                    <a:lnTo>
                                      <a:pt x="13" y="48"/>
                                    </a:lnTo>
                                    <a:lnTo>
                                      <a:pt x="13" y="48"/>
                                    </a:lnTo>
                                    <a:lnTo>
                                      <a:pt x="13" y="47"/>
                                    </a:lnTo>
                                    <a:lnTo>
                                      <a:pt x="13" y="47"/>
                                    </a:lnTo>
                                    <a:lnTo>
                                      <a:pt x="13" y="47"/>
                                    </a:lnTo>
                                    <a:lnTo>
                                      <a:pt x="13" y="47"/>
                                    </a:lnTo>
                                    <a:lnTo>
                                      <a:pt x="14" y="47"/>
                                    </a:lnTo>
                                    <a:lnTo>
                                      <a:pt x="14" y="46"/>
                                    </a:lnTo>
                                    <a:lnTo>
                                      <a:pt x="14" y="46"/>
                                    </a:lnTo>
                                    <a:lnTo>
                                      <a:pt x="14" y="45"/>
                                    </a:lnTo>
                                    <a:lnTo>
                                      <a:pt x="14" y="45"/>
                                    </a:lnTo>
                                    <a:lnTo>
                                      <a:pt x="14" y="44"/>
                                    </a:lnTo>
                                    <a:lnTo>
                                      <a:pt x="14" y="44"/>
                                    </a:lnTo>
                                    <a:lnTo>
                                      <a:pt x="14" y="43"/>
                                    </a:lnTo>
                                    <a:lnTo>
                                      <a:pt x="14" y="43"/>
                                    </a:lnTo>
                                    <a:lnTo>
                                      <a:pt x="14" y="42"/>
                                    </a:lnTo>
                                    <a:lnTo>
                                      <a:pt x="14" y="42"/>
                                    </a:lnTo>
                                    <a:lnTo>
                                      <a:pt x="15" y="42"/>
                                    </a:lnTo>
                                    <a:lnTo>
                                      <a:pt x="15" y="42"/>
                                    </a:lnTo>
                                    <a:lnTo>
                                      <a:pt x="16" y="42"/>
                                    </a:lnTo>
                                    <a:lnTo>
                                      <a:pt x="16" y="42"/>
                                    </a:lnTo>
                                    <a:lnTo>
                                      <a:pt x="16" y="41"/>
                                    </a:lnTo>
                                    <a:lnTo>
                                      <a:pt x="16" y="41"/>
                                    </a:lnTo>
                                    <a:lnTo>
                                      <a:pt x="16" y="41"/>
                                    </a:lnTo>
                                    <a:lnTo>
                                      <a:pt x="16" y="40"/>
                                    </a:lnTo>
                                    <a:lnTo>
                                      <a:pt x="16" y="40"/>
                                    </a:lnTo>
                                    <a:lnTo>
                                      <a:pt x="16" y="39"/>
                                    </a:lnTo>
                                    <a:lnTo>
                                      <a:pt x="16" y="39"/>
                                    </a:lnTo>
                                    <a:lnTo>
                                      <a:pt x="16" y="38"/>
                                    </a:lnTo>
                                    <a:lnTo>
                                      <a:pt x="17" y="38"/>
                                    </a:lnTo>
                                    <a:lnTo>
                                      <a:pt x="17" y="37"/>
                                    </a:lnTo>
                                    <a:lnTo>
                                      <a:pt x="17" y="37"/>
                                    </a:lnTo>
                                    <a:lnTo>
                                      <a:pt x="17" y="37"/>
                                    </a:lnTo>
                                    <a:lnTo>
                                      <a:pt x="18" y="37"/>
                                    </a:lnTo>
                                    <a:lnTo>
                                      <a:pt x="19" y="37"/>
                                    </a:lnTo>
                                    <a:lnTo>
                                      <a:pt x="20" y="37"/>
                                    </a:lnTo>
                                    <a:lnTo>
                                      <a:pt x="20" y="37"/>
                                    </a:lnTo>
                                    <a:lnTo>
                                      <a:pt x="21" y="37"/>
                                    </a:lnTo>
                                    <a:lnTo>
                                      <a:pt x="22" y="37"/>
                                    </a:lnTo>
                                    <a:lnTo>
                                      <a:pt x="22" y="36"/>
                                    </a:lnTo>
                                    <a:lnTo>
                                      <a:pt x="22" y="36"/>
                                    </a:lnTo>
                                    <a:lnTo>
                                      <a:pt x="23" y="36"/>
                                    </a:lnTo>
                                    <a:lnTo>
                                      <a:pt x="23" y="36"/>
                                    </a:lnTo>
                                    <a:lnTo>
                                      <a:pt x="23" y="35"/>
                                    </a:lnTo>
                                    <a:lnTo>
                                      <a:pt x="23" y="35"/>
                                    </a:lnTo>
                                    <a:lnTo>
                                      <a:pt x="24" y="35"/>
                                    </a:lnTo>
                                    <a:lnTo>
                                      <a:pt x="24" y="35"/>
                                    </a:lnTo>
                                    <a:lnTo>
                                      <a:pt x="24" y="35"/>
                                    </a:lnTo>
                                    <a:lnTo>
                                      <a:pt x="25" y="35"/>
                                    </a:lnTo>
                                    <a:lnTo>
                                      <a:pt x="26" y="35"/>
                                    </a:lnTo>
                                    <a:lnTo>
                                      <a:pt x="26" y="34"/>
                                    </a:lnTo>
                                    <a:lnTo>
                                      <a:pt x="26" y="34"/>
                                    </a:lnTo>
                                    <a:lnTo>
                                      <a:pt x="27" y="34"/>
                                    </a:lnTo>
                                    <a:lnTo>
                                      <a:pt x="27" y="33"/>
                                    </a:lnTo>
                                    <a:lnTo>
                                      <a:pt x="27" y="33"/>
                                    </a:lnTo>
                                    <a:lnTo>
                                      <a:pt x="28" y="32"/>
                                    </a:lnTo>
                                    <a:lnTo>
                                      <a:pt x="28" y="30"/>
                                    </a:lnTo>
                                    <a:lnTo>
                                      <a:pt x="28" y="29"/>
                                    </a:lnTo>
                                    <a:lnTo>
                                      <a:pt x="28" y="28"/>
                                    </a:lnTo>
                                    <a:lnTo>
                                      <a:pt x="28" y="27"/>
                                    </a:lnTo>
                                    <a:lnTo>
                                      <a:pt x="28" y="26"/>
                                    </a:lnTo>
                                    <a:lnTo>
                                      <a:pt x="28" y="26"/>
                                    </a:lnTo>
                                    <a:lnTo>
                                      <a:pt x="28" y="25"/>
                                    </a:lnTo>
                                    <a:lnTo>
                                      <a:pt x="29" y="25"/>
                                    </a:lnTo>
                                    <a:lnTo>
                                      <a:pt x="29" y="24"/>
                                    </a:lnTo>
                                    <a:lnTo>
                                      <a:pt x="29" y="24"/>
                                    </a:lnTo>
                                    <a:lnTo>
                                      <a:pt x="30" y="24"/>
                                    </a:lnTo>
                                    <a:lnTo>
                                      <a:pt x="30" y="24"/>
                                    </a:lnTo>
                                    <a:lnTo>
                                      <a:pt x="31" y="24"/>
                                    </a:lnTo>
                                    <a:lnTo>
                                      <a:pt x="32" y="24"/>
                                    </a:lnTo>
                                    <a:lnTo>
                                      <a:pt x="33" y="24"/>
                                    </a:lnTo>
                                    <a:lnTo>
                                      <a:pt x="33" y="24"/>
                                    </a:lnTo>
                                    <a:lnTo>
                                      <a:pt x="34" y="24"/>
                                    </a:lnTo>
                                    <a:lnTo>
                                      <a:pt x="35" y="25"/>
                                    </a:lnTo>
                                    <a:lnTo>
                                      <a:pt x="36" y="25"/>
                                    </a:lnTo>
                                    <a:lnTo>
                                      <a:pt x="36" y="26"/>
                                    </a:lnTo>
                                    <a:lnTo>
                                      <a:pt x="36" y="26"/>
                                    </a:lnTo>
                                    <a:lnTo>
                                      <a:pt x="36" y="27"/>
                                    </a:lnTo>
                                    <a:lnTo>
                                      <a:pt x="36" y="27"/>
                                    </a:lnTo>
                                    <a:lnTo>
                                      <a:pt x="36" y="27"/>
                                    </a:lnTo>
                                    <a:lnTo>
                                      <a:pt x="36" y="28"/>
                                    </a:lnTo>
                                    <a:lnTo>
                                      <a:pt x="36" y="28"/>
                                    </a:lnTo>
                                    <a:lnTo>
                                      <a:pt x="36" y="28"/>
                                    </a:lnTo>
                                    <a:lnTo>
                                      <a:pt x="37" y="28"/>
                                    </a:lnTo>
                                    <a:lnTo>
                                      <a:pt x="37" y="29"/>
                                    </a:lnTo>
                                    <a:lnTo>
                                      <a:pt x="37" y="29"/>
                                    </a:lnTo>
                                    <a:lnTo>
                                      <a:pt x="38" y="29"/>
                                    </a:lnTo>
                                    <a:lnTo>
                                      <a:pt x="38" y="29"/>
                                    </a:lnTo>
                                    <a:lnTo>
                                      <a:pt x="38" y="30"/>
                                    </a:lnTo>
                                    <a:lnTo>
                                      <a:pt x="38" y="30"/>
                                    </a:lnTo>
                                    <a:lnTo>
                                      <a:pt x="38" y="30"/>
                                    </a:lnTo>
                                    <a:lnTo>
                                      <a:pt x="38" y="31"/>
                                    </a:lnTo>
                                    <a:lnTo>
                                      <a:pt x="38" y="31"/>
                                    </a:lnTo>
                                    <a:lnTo>
                                      <a:pt x="38" y="31"/>
                                    </a:lnTo>
                                    <a:lnTo>
                                      <a:pt x="38" y="32"/>
                                    </a:lnTo>
                                    <a:lnTo>
                                      <a:pt x="38" y="32"/>
                                    </a:lnTo>
                                    <a:lnTo>
                                      <a:pt x="39" y="32"/>
                                    </a:lnTo>
                                    <a:lnTo>
                                      <a:pt x="39" y="32"/>
                                    </a:lnTo>
                                    <a:lnTo>
                                      <a:pt x="39" y="32"/>
                                    </a:lnTo>
                                    <a:lnTo>
                                      <a:pt x="39" y="34"/>
                                    </a:lnTo>
                                    <a:lnTo>
                                      <a:pt x="39" y="35"/>
                                    </a:lnTo>
                                    <a:lnTo>
                                      <a:pt x="39" y="37"/>
                                    </a:lnTo>
                                    <a:lnTo>
                                      <a:pt x="39" y="39"/>
                                    </a:lnTo>
                                    <a:lnTo>
                                      <a:pt x="39" y="39"/>
                                    </a:lnTo>
                                    <a:lnTo>
                                      <a:pt x="39" y="39"/>
                                    </a:lnTo>
                                    <a:lnTo>
                                      <a:pt x="40" y="40"/>
                                    </a:lnTo>
                                    <a:lnTo>
                                      <a:pt x="40" y="40"/>
                                    </a:lnTo>
                                    <a:lnTo>
                                      <a:pt x="40" y="40"/>
                                    </a:lnTo>
                                    <a:lnTo>
                                      <a:pt x="40" y="40"/>
                                    </a:lnTo>
                                    <a:lnTo>
                                      <a:pt x="41" y="40"/>
                                    </a:lnTo>
                                    <a:lnTo>
                                      <a:pt x="41" y="40"/>
                                    </a:lnTo>
                                    <a:lnTo>
                                      <a:pt x="41" y="41"/>
                                    </a:lnTo>
                                    <a:lnTo>
                                      <a:pt x="41" y="41"/>
                                    </a:lnTo>
                                    <a:lnTo>
                                      <a:pt x="41" y="42"/>
                                    </a:lnTo>
                                    <a:lnTo>
                                      <a:pt x="41" y="42"/>
                                    </a:lnTo>
                                    <a:lnTo>
                                      <a:pt x="41" y="43"/>
                                    </a:lnTo>
                                    <a:lnTo>
                                      <a:pt x="41" y="43"/>
                                    </a:lnTo>
                                    <a:lnTo>
                                      <a:pt x="41" y="43"/>
                                    </a:lnTo>
                                    <a:lnTo>
                                      <a:pt x="42" y="44"/>
                                    </a:lnTo>
                                    <a:lnTo>
                                      <a:pt x="42" y="44"/>
                                    </a:lnTo>
                                    <a:lnTo>
                                      <a:pt x="43" y="45"/>
                                    </a:lnTo>
                                    <a:lnTo>
                                      <a:pt x="43" y="45"/>
                                    </a:lnTo>
                                    <a:lnTo>
                                      <a:pt x="43" y="45"/>
                                    </a:lnTo>
                                    <a:lnTo>
                                      <a:pt x="44" y="45"/>
                                    </a:lnTo>
                                    <a:lnTo>
                                      <a:pt x="44" y="45"/>
                                    </a:lnTo>
                                    <a:lnTo>
                                      <a:pt x="45" y="45"/>
                                    </a:lnTo>
                                    <a:lnTo>
                                      <a:pt x="49" y="45"/>
                                    </a:lnTo>
                                    <a:lnTo>
                                      <a:pt x="50" y="45"/>
                                    </a:lnTo>
                                    <a:lnTo>
                                      <a:pt x="51" y="45"/>
                                    </a:lnTo>
                                    <a:lnTo>
                                      <a:pt x="52" y="45"/>
                                    </a:lnTo>
                                    <a:lnTo>
                                      <a:pt x="53" y="45"/>
                                    </a:lnTo>
                                    <a:lnTo>
                                      <a:pt x="53" y="45"/>
                                    </a:lnTo>
                                    <a:lnTo>
                                      <a:pt x="54" y="45"/>
                                    </a:lnTo>
                                    <a:lnTo>
                                      <a:pt x="54" y="45"/>
                                    </a:lnTo>
                                    <a:lnTo>
                                      <a:pt x="54" y="44"/>
                                    </a:lnTo>
                                    <a:lnTo>
                                      <a:pt x="54" y="44"/>
                                    </a:lnTo>
                                    <a:lnTo>
                                      <a:pt x="55" y="44"/>
                                    </a:lnTo>
                                    <a:lnTo>
                                      <a:pt x="55" y="44"/>
                                    </a:lnTo>
                                    <a:lnTo>
                                      <a:pt x="56" y="44"/>
                                    </a:lnTo>
                                    <a:lnTo>
                                      <a:pt x="57" y="44"/>
                                    </a:lnTo>
                                    <a:lnTo>
                                      <a:pt x="58" y="44"/>
                                    </a:lnTo>
                                    <a:lnTo>
                                      <a:pt x="58" y="44"/>
                                    </a:lnTo>
                                    <a:lnTo>
                                      <a:pt x="58" y="44"/>
                                    </a:lnTo>
                                    <a:lnTo>
                                      <a:pt x="58" y="44"/>
                                    </a:lnTo>
                                    <a:lnTo>
                                      <a:pt x="58" y="44"/>
                                    </a:lnTo>
                                    <a:lnTo>
                                      <a:pt x="58" y="45"/>
                                    </a:lnTo>
                                    <a:lnTo>
                                      <a:pt x="58" y="45"/>
                                    </a:lnTo>
                                    <a:lnTo>
                                      <a:pt x="59" y="45"/>
                                    </a:lnTo>
                                    <a:lnTo>
                                      <a:pt x="59" y="44"/>
                                    </a:lnTo>
                                    <a:lnTo>
                                      <a:pt x="59" y="44"/>
                                    </a:lnTo>
                                    <a:lnTo>
                                      <a:pt x="59" y="44"/>
                                    </a:lnTo>
                                    <a:lnTo>
                                      <a:pt x="59" y="44"/>
                                    </a:lnTo>
                                    <a:lnTo>
                                      <a:pt x="60" y="43"/>
                                    </a:lnTo>
                                    <a:lnTo>
                                      <a:pt x="59" y="43"/>
                                    </a:lnTo>
                                    <a:lnTo>
                                      <a:pt x="59" y="43"/>
                                    </a:lnTo>
                                    <a:lnTo>
                                      <a:pt x="59" y="42"/>
                                    </a:lnTo>
                                    <a:lnTo>
                                      <a:pt x="59" y="42"/>
                                    </a:lnTo>
                                    <a:lnTo>
                                      <a:pt x="58" y="42"/>
                                    </a:lnTo>
                                    <a:lnTo>
                                      <a:pt x="58" y="42"/>
                                    </a:lnTo>
                                    <a:lnTo>
                                      <a:pt x="58" y="42"/>
                                    </a:lnTo>
                                    <a:lnTo>
                                      <a:pt x="58" y="42"/>
                                    </a:lnTo>
                                    <a:lnTo>
                                      <a:pt x="58" y="41"/>
                                    </a:lnTo>
                                    <a:lnTo>
                                      <a:pt x="58" y="41"/>
                                    </a:lnTo>
                                    <a:lnTo>
                                      <a:pt x="58" y="40"/>
                                    </a:lnTo>
                                    <a:lnTo>
                                      <a:pt x="58" y="40"/>
                                    </a:lnTo>
                                    <a:lnTo>
                                      <a:pt x="58" y="40"/>
                                    </a:lnTo>
                                    <a:lnTo>
                                      <a:pt x="59" y="40"/>
                                    </a:lnTo>
                                    <a:lnTo>
                                      <a:pt x="59" y="39"/>
                                    </a:lnTo>
                                    <a:lnTo>
                                      <a:pt x="59" y="39"/>
                                    </a:lnTo>
                                    <a:lnTo>
                                      <a:pt x="59" y="39"/>
                                    </a:lnTo>
                                    <a:lnTo>
                                      <a:pt x="59" y="39"/>
                                    </a:lnTo>
                                    <a:lnTo>
                                      <a:pt x="59" y="38"/>
                                    </a:lnTo>
                                    <a:lnTo>
                                      <a:pt x="59" y="38"/>
                                    </a:lnTo>
                                    <a:lnTo>
                                      <a:pt x="59" y="38"/>
                                    </a:lnTo>
                                    <a:lnTo>
                                      <a:pt x="59" y="37"/>
                                    </a:lnTo>
                                    <a:lnTo>
                                      <a:pt x="59" y="37"/>
                                    </a:lnTo>
                                    <a:lnTo>
                                      <a:pt x="58" y="37"/>
                                    </a:lnTo>
                                    <a:lnTo>
                                      <a:pt x="58" y="37"/>
                                    </a:lnTo>
                                    <a:lnTo>
                                      <a:pt x="58" y="37"/>
                                    </a:lnTo>
                                    <a:lnTo>
                                      <a:pt x="58" y="37"/>
                                    </a:lnTo>
                                    <a:lnTo>
                                      <a:pt x="58" y="36"/>
                                    </a:lnTo>
                                    <a:lnTo>
                                      <a:pt x="58" y="36"/>
                                    </a:lnTo>
                                    <a:lnTo>
                                      <a:pt x="58" y="35"/>
                                    </a:lnTo>
                                    <a:lnTo>
                                      <a:pt x="58" y="35"/>
                                    </a:lnTo>
                                    <a:lnTo>
                                      <a:pt x="58" y="34"/>
                                    </a:lnTo>
                                    <a:lnTo>
                                      <a:pt x="58" y="34"/>
                                    </a:lnTo>
                                    <a:lnTo>
                                      <a:pt x="57" y="34"/>
                                    </a:lnTo>
                                    <a:lnTo>
                                      <a:pt x="57" y="34"/>
                                    </a:lnTo>
                                    <a:lnTo>
                                      <a:pt x="57" y="34"/>
                                    </a:lnTo>
                                    <a:lnTo>
                                      <a:pt x="56" y="34"/>
                                    </a:lnTo>
                                    <a:lnTo>
                                      <a:pt x="56" y="34"/>
                                    </a:lnTo>
                                    <a:lnTo>
                                      <a:pt x="56" y="24"/>
                                    </a:lnTo>
                                    <a:lnTo>
                                      <a:pt x="57" y="24"/>
                                    </a:lnTo>
                                    <a:lnTo>
                                      <a:pt x="58" y="24"/>
                                    </a:lnTo>
                                    <a:lnTo>
                                      <a:pt x="59" y="24"/>
                                    </a:lnTo>
                                    <a:lnTo>
                                      <a:pt x="59" y="24"/>
                                    </a:lnTo>
                                    <a:lnTo>
                                      <a:pt x="60" y="24"/>
                                    </a:lnTo>
                                    <a:lnTo>
                                      <a:pt x="60" y="23"/>
                                    </a:lnTo>
                                    <a:lnTo>
                                      <a:pt x="61" y="23"/>
                                    </a:lnTo>
                                    <a:lnTo>
                                      <a:pt x="61" y="23"/>
                                    </a:lnTo>
                                    <a:lnTo>
                                      <a:pt x="62" y="22"/>
                                    </a:lnTo>
                                    <a:lnTo>
                                      <a:pt x="62" y="22"/>
                                    </a:lnTo>
                                    <a:lnTo>
                                      <a:pt x="63" y="22"/>
                                    </a:lnTo>
                                    <a:lnTo>
                                      <a:pt x="63" y="22"/>
                                    </a:lnTo>
                                    <a:lnTo>
                                      <a:pt x="63" y="22"/>
                                    </a:lnTo>
                                    <a:lnTo>
                                      <a:pt x="64" y="22"/>
                                    </a:lnTo>
                                    <a:lnTo>
                                      <a:pt x="64" y="22"/>
                                    </a:lnTo>
                                    <a:lnTo>
                                      <a:pt x="64" y="21"/>
                                    </a:lnTo>
                                    <a:lnTo>
                                      <a:pt x="64" y="21"/>
                                    </a:lnTo>
                                    <a:lnTo>
                                      <a:pt x="64" y="21"/>
                                    </a:lnTo>
                                    <a:lnTo>
                                      <a:pt x="64" y="20"/>
                                    </a:lnTo>
                                    <a:lnTo>
                                      <a:pt x="69" y="20"/>
                                    </a:lnTo>
                                    <a:lnTo>
                                      <a:pt x="70" y="20"/>
                                    </a:lnTo>
                                    <a:lnTo>
                                      <a:pt x="70" y="20"/>
                                    </a:lnTo>
                                    <a:lnTo>
                                      <a:pt x="71" y="20"/>
                                    </a:lnTo>
                                    <a:lnTo>
                                      <a:pt x="71" y="20"/>
                                    </a:lnTo>
                                    <a:lnTo>
                                      <a:pt x="72" y="20"/>
                                    </a:lnTo>
                                    <a:lnTo>
                                      <a:pt x="72" y="20"/>
                                    </a:lnTo>
                                    <a:lnTo>
                                      <a:pt x="72" y="20"/>
                                    </a:lnTo>
                                    <a:lnTo>
                                      <a:pt x="73" y="20"/>
                                    </a:lnTo>
                                    <a:lnTo>
                                      <a:pt x="73" y="20"/>
                                    </a:lnTo>
                                    <a:lnTo>
                                      <a:pt x="73" y="20"/>
                                    </a:lnTo>
                                    <a:lnTo>
                                      <a:pt x="74" y="19"/>
                                    </a:lnTo>
                                    <a:lnTo>
                                      <a:pt x="74" y="19"/>
                                    </a:lnTo>
                                    <a:lnTo>
                                      <a:pt x="74" y="18"/>
                                    </a:lnTo>
                                    <a:lnTo>
                                      <a:pt x="74" y="18"/>
                                    </a:lnTo>
                                    <a:lnTo>
                                      <a:pt x="74" y="17"/>
                                    </a:lnTo>
                                    <a:lnTo>
                                      <a:pt x="74" y="15"/>
                                    </a:lnTo>
                                    <a:lnTo>
                                      <a:pt x="74" y="14"/>
                                    </a:lnTo>
                                    <a:lnTo>
                                      <a:pt x="74" y="14"/>
                                    </a:lnTo>
                                    <a:lnTo>
                                      <a:pt x="75" y="13"/>
                                    </a:lnTo>
                                    <a:lnTo>
                                      <a:pt x="75" y="13"/>
                                    </a:lnTo>
                                    <a:lnTo>
                                      <a:pt x="75" y="12"/>
                                    </a:lnTo>
                                    <a:lnTo>
                                      <a:pt x="76" y="12"/>
                                    </a:lnTo>
                                    <a:lnTo>
                                      <a:pt x="76" y="12"/>
                                    </a:lnTo>
                                    <a:lnTo>
                                      <a:pt x="77" y="12"/>
                                    </a:lnTo>
                                    <a:lnTo>
                                      <a:pt x="78" y="12"/>
                                    </a:lnTo>
                                    <a:lnTo>
                                      <a:pt x="79" y="12"/>
                                    </a:lnTo>
                                    <a:lnTo>
                                      <a:pt x="79" y="12"/>
                                    </a:lnTo>
                                    <a:lnTo>
                                      <a:pt x="80" y="12"/>
                                    </a:lnTo>
                                    <a:lnTo>
                                      <a:pt x="80" y="13"/>
                                    </a:lnTo>
                                    <a:lnTo>
                                      <a:pt x="80" y="13"/>
                                    </a:lnTo>
                                    <a:lnTo>
                                      <a:pt x="80" y="13"/>
                                    </a:lnTo>
                                    <a:lnTo>
                                      <a:pt x="80" y="13"/>
                                    </a:lnTo>
                                    <a:lnTo>
                                      <a:pt x="81" y="13"/>
                                    </a:lnTo>
                                    <a:lnTo>
                                      <a:pt x="81" y="13"/>
                                    </a:lnTo>
                                    <a:lnTo>
                                      <a:pt x="81" y="13"/>
                                    </a:lnTo>
                                    <a:lnTo>
                                      <a:pt x="82" y="13"/>
                                    </a:lnTo>
                                    <a:lnTo>
                                      <a:pt x="82" y="13"/>
                                    </a:lnTo>
                                    <a:lnTo>
                                      <a:pt x="82" y="13"/>
                                    </a:lnTo>
                                    <a:lnTo>
                                      <a:pt x="82" y="13"/>
                                    </a:lnTo>
                                    <a:lnTo>
                                      <a:pt x="83" y="13"/>
                                    </a:lnTo>
                                    <a:lnTo>
                                      <a:pt x="83" y="12"/>
                                    </a:lnTo>
                                    <a:lnTo>
                                      <a:pt x="83" y="12"/>
                                    </a:lnTo>
                                    <a:lnTo>
                                      <a:pt x="83" y="11"/>
                                    </a:lnTo>
                                    <a:lnTo>
                                      <a:pt x="83" y="11"/>
                                    </a:lnTo>
                                    <a:lnTo>
                                      <a:pt x="84" y="11"/>
                                    </a:lnTo>
                                    <a:lnTo>
                                      <a:pt x="85" y="11"/>
                                    </a:lnTo>
                                    <a:lnTo>
                                      <a:pt x="85" y="10"/>
                                    </a:lnTo>
                                    <a:lnTo>
                                      <a:pt x="86" y="10"/>
                                    </a:lnTo>
                                    <a:lnTo>
                                      <a:pt x="88" y="10"/>
                                    </a:lnTo>
                                    <a:lnTo>
                                      <a:pt x="89" y="10"/>
                                    </a:lnTo>
                                    <a:lnTo>
                                      <a:pt x="90" y="10"/>
                                    </a:lnTo>
                                    <a:lnTo>
                                      <a:pt x="90" y="10"/>
                                    </a:lnTo>
                                    <a:lnTo>
                                      <a:pt x="91" y="10"/>
                                    </a:lnTo>
                                    <a:lnTo>
                                      <a:pt x="92" y="10"/>
                                    </a:lnTo>
                                    <a:lnTo>
                                      <a:pt x="92" y="10"/>
                                    </a:lnTo>
                                    <a:lnTo>
                                      <a:pt x="93" y="9"/>
                                    </a:lnTo>
                                    <a:lnTo>
                                      <a:pt x="93" y="9"/>
                                    </a:lnTo>
                                    <a:lnTo>
                                      <a:pt x="93" y="9"/>
                                    </a:lnTo>
                                    <a:lnTo>
                                      <a:pt x="94" y="8"/>
                                    </a:lnTo>
                                    <a:lnTo>
                                      <a:pt x="94" y="8"/>
                                    </a:lnTo>
                                    <a:lnTo>
                                      <a:pt x="95" y="7"/>
                                    </a:lnTo>
                                    <a:lnTo>
                                      <a:pt x="96" y="7"/>
                                    </a:lnTo>
                                    <a:lnTo>
                                      <a:pt x="96" y="6"/>
                                    </a:lnTo>
                                    <a:lnTo>
                                      <a:pt x="97" y="5"/>
                                    </a:lnTo>
                                    <a:lnTo>
                                      <a:pt x="97" y="5"/>
                                    </a:lnTo>
                                    <a:lnTo>
                                      <a:pt x="98" y="4"/>
                                    </a:lnTo>
                                    <a:lnTo>
                                      <a:pt x="98" y="4"/>
                                    </a:lnTo>
                                    <a:lnTo>
                                      <a:pt x="99" y="3"/>
                                    </a:lnTo>
                                    <a:lnTo>
                                      <a:pt x="99" y="3"/>
                                    </a:lnTo>
                                    <a:lnTo>
                                      <a:pt x="100" y="3"/>
                                    </a:lnTo>
                                    <a:lnTo>
                                      <a:pt x="100" y="2"/>
                                    </a:lnTo>
                                    <a:lnTo>
                                      <a:pt x="101" y="2"/>
                                    </a:lnTo>
                                    <a:lnTo>
                                      <a:pt x="101" y="2"/>
                                    </a:lnTo>
                                  </a:path>
                                </a:pathLst>
                              </a:custGeom>
                              <a:solidFill>
                                <a:schemeClr val="bg1">
                                  <a:lumMod val="95000"/>
                                </a:schemeClr>
                              </a:solidFill>
                              <a:ln w="3175">
                                <a:solidFill>
                                  <a:schemeClr val="accent2">
                                    <a:lumMod val="40000"/>
                                    <a:lumOff val="60000"/>
                                  </a:schemeClr>
                                </a:solidFill>
                              </a:ln>
                            </p:spPr>
                            <p:style>
                              <a:lnRef idx="2">
                                <a:schemeClr val="accent1">
                                  <a:shade val="50000"/>
                                </a:schemeClr>
                              </a:lnRef>
                              <a:fillRef idx="1">
                                <a:schemeClr val="accent1"/>
                              </a:fillRef>
                              <a:effectRef idx="0">
                                <a:schemeClr val="accent1"/>
                              </a:effectRef>
                              <a:fontRef idx="minor">
                                <a:schemeClr val="lt1"/>
                              </a:fontRef>
                            </p:style>
                            <p:txBody>
                              <a:bodyPr lIns="104000" tIns="104000" rIns="104000" bIns="104000" anchor="ctr"/>
                              <a:lstStyle/>
                              <a:p>
                                <a:pPr algn="ctr" defTabSz="457200">
                                  <a:lnSpc>
                                    <a:spcPct val="90000"/>
                                  </a:lnSpc>
                                  <a:buClr>
                                    <a:srgbClr val="0563C1"/>
                                  </a:buClr>
                                  <a:buSzPct val="110000"/>
                                  <a:defRPr/>
                                </a:pPr>
                                <a:endParaRPr lang="en-US" sz="1050" dirty="0">
                                  <a:solidFill>
                                    <a:prstClr val="white"/>
                                  </a:solidFill>
                                </a:endParaRPr>
                              </a:p>
                            </p:txBody>
                          </p:sp>
                          <p:sp>
                            <p:nvSpPr>
                              <p:cNvPr id="136" name="Freeform 6"/>
                              <p:cNvSpPr>
                                <a:spLocks/>
                              </p:cNvSpPr>
                              <p:nvPr/>
                            </p:nvSpPr>
                            <p:spPr bwMode="auto">
                              <a:xfrm>
                                <a:off x="6403292" y="2360804"/>
                                <a:ext cx="1984289" cy="1841841"/>
                              </a:xfrm>
                              <a:custGeom>
                                <a:avLst/>
                                <a:gdLst/>
                                <a:ahLst/>
                                <a:cxnLst>
                                  <a:cxn ang="0">
                                    <a:pos x="25" y="46"/>
                                  </a:cxn>
                                  <a:cxn ang="0">
                                    <a:pos x="15" y="28"/>
                                  </a:cxn>
                                  <a:cxn ang="0">
                                    <a:pos x="19" y="11"/>
                                  </a:cxn>
                                  <a:cxn ang="0">
                                    <a:pos x="33" y="2"/>
                                  </a:cxn>
                                  <a:cxn ang="0">
                                    <a:pos x="37" y="9"/>
                                  </a:cxn>
                                  <a:cxn ang="0">
                                    <a:pos x="42" y="15"/>
                                  </a:cxn>
                                  <a:cxn ang="0">
                                    <a:pos x="46" y="22"/>
                                  </a:cxn>
                                  <a:cxn ang="0">
                                    <a:pos x="51" y="28"/>
                                  </a:cxn>
                                  <a:cxn ang="0">
                                    <a:pos x="61" y="20"/>
                                  </a:cxn>
                                  <a:cxn ang="0">
                                    <a:pos x="61" y="13"/>
                                  </a:cxn>
                                  <a:cxn ang="0">
                                    <a:pos x="65" y="11"/>
                                  </a:cxn>
                                  <a:cxn ang="0">
                                    <a:pos x="70" y="13"/>
                                  </a:cxn>
                                  <a:cxn ang="0">
                                    <a:pos x="72" y="18"/>
                                  </a:cxn>
                                  <a:cxn ang="0">
                                    <a:pos x="77" y="21"/>
                                  </a:cxn>
                                  <a:cxn ang="0">
                                    <a:pos x="83" y="24"/>
                                  </a:cxn>
                                  <a:cxn ang="0">
                                    <a:pos x="92" y="21"/>
                                  </a:cxn>
                                  <a:cxn ang="0">
                                    <a:pos x="104" y="16"/>
                                  </a:cxn>
                                  <a:cxn ang="0">
                                    <a:pos x="111" y="14"/>
                                  </a:cxn>
                                  <a:cxn ang="0">
                                    <a:pos x="114" y="11"/>
                                  </a:cxn>
                                  <a:cxn ang="0">
                                    <a:pos x="124" y="12"/>
                                  </a:cxn>
                                  <a:cxn ang="0">
                                    <a:pos x="131" y="18"/>
                                  </a:cxn>
                                  <a:cxn ang="0">
                                    <a:pos x="134" y="23"/>
                                  </a:cxn>
                                  <a:cxn ang="0">
                                    <a:pos x="137" y="28"/>
                                  </a:cxn>
                                  <a:cxn ang="0">
                                    <a:pos x="146" y="30"/>
                                  </a:cxn>
                                  <a:cxn ang="0">
                                    <a:pos x="152" y="33"/>
                                  </a:cxn>
                                  <a:cxn ang="0">
                                    <a:pos x="155" y="38"/>
                                  </a:cxn>
                                  <a:cxn ang="0">
                                    <a:pos x="160" y="41"/>
                                  </a:cxn>
                                  <a:cxn ang="0">
                                    <a:pos x="176" y="43"/>
                                  </a:cxn>
                                  <a:cxn ang="0">
                                    <a:pos x="183" y="41"/>
                                  </a:cxn>
                                  <a:cxn ang="0">
                                    <a:pos x="189" y="34"/>
                                  </a:cxn>
                                  <a:cxn ang="0">
                                    <a:pos x="192" y="39"/>
                                  </a:cxn>
                                  <a:cxn ang="0">
                                    <a:pos x="200" y="46"/>
                                  </a:cxn>
                                  <a:cxn ang="0">
                                    <a:pos x="194" y="53"/>
                                  </a:cxn>
                                  <a:cxn ang="0">
                                    <a:pos x="193" y="68"/>
                                  </a:cxn>
                                  <a:cxn ang="0">
                                    <a:pos x="180" y="99"/>
                                  </a:cxn>
                                  <a:cxn ang="0">
                                    <a:pos x="183" y="103"/>
                                  </a:cxn>
                                  <a:cxn ang="0">
                                    <a:pos x="186" y="107"/>
                                  </a:cxn>
                                  <a:cxn ang="0">
                                    <a:pos x="179" y="119"/>
                                  </a:cxn>
                                  <a:cxn ang="0">
                                    <a:pos x="175" y="123"/>
                                  </a:cxn>
                                  <a:cxn ang="0">
                                    <a:pos x="169" y="124"/>
                                  </a:cxn>
                                  <a:cxn ang="0">
                                    <a:pos x="162" y="122"/>
                                  </a:cxn>
                                  <a:cxn ang="0">
                                    <a:pos x="157" y="125"/>
                                  </a:cxn>
                                  <a:cxn ang="0">
                                    <a:pos x="144" y="125"/>
                                  </a:cxn>
                                  <a:cxn ang="0">
                                    <a:pos x="132" y="124"/>
                                  </a:cxn>
                                  <a:cxn ang="0">
                                    <a:pos x="131" y="138"/>
                                  </a:cxn>
                                  <a:cxn ang="0">
                                    <a:pos x="129" y="159"/>
                                  </a:cxn>
                                  <a:cxn ang="0">
                                    <a:pos x="124" y="169"/>
                                  </a:cxn>
                                  <a:cxn ang="0">
                                    <a:pos x="110" y="150"/>
                                  </a:cxn>
                                  <a:cxn ang="0">
                                    <a:pos x="93" y="146"/>
                                  </a:cxn>
                                  <a:cxn ang="0">
                                    <a:pos x="70" y="140"/>
                                  </a:cxn>
                                  <a:cxn ang="0">
                                    <a:pos x="64" y="143"/>
                                  </a:cxn>
                                  <a:cxn ang="0">
                                    <a:pos x="39" y="138"/>
                                  </a:cxn>
                                  <a:cxn ang="0">
                                    <a:pos x="20" y="143"/>
                                  </a:cxn>
                                  <a:cxn ang="0">
                                    <a:pos x="9" y="147"/>
                                  </a:cxn>
                                  <a:cxn ang="0">
                                    <a:pos x="12" y="125"/>
                                  </a:cxn>
                                  <a:cxn ang="0">
                                    <a:pos x="8" y="114"/>
                                  </a:cxn>
                                  <a:cxn ang="0">
                                    <a:pos x="9" y="103"/>
                                  </a:cxn>
                                  <a:cxn ang="0">
                                    <a:pos x="9" y="97"/>
                                  </a:cxn>
                                  <a:cxn ang="0">
                                    <a:pos x="6" y="80"/>
                                  </a:cxn>
                                  <a:cxn ang="0">
                                    <a:pos x="0" y="67"/>
                                  </a:cxn>
                                  <a:cxn ang="0">
                                    <a:pos x="5" y="59"/>
                                  </a:cxn>
                                </a:cxnLst>
                                <a:rect l="0" t="0" r="r" b="b"/>
                                <a:pathLst>
                                  <a:path w="200" h="172">
                                    <a:moveTo>
                                      <a:pt x="11" y="52"/>
                                    </a:moveTo>
                                    <a:lnTo>
                                      <a:pt x="12" y="52"/>
                                    </a:lnTo>
                                    <a:lnTo>
                                      <a:pt x="14" y="52"/>
                                    </a:lnTo>
                                    <a:lnTo>
                                      <a:pt x="15" y="52"/>
                                    </a:lnTo>
                                    <a:lnTo>
                                      <a:pt x="16" y="52"/>
                                    </a:lnTo>
                                    <a:lnTo>
                                      <a:pt x="18" y="52"/>
                                    </a:lnTo>
                                    <a:lnTo>
                                      <a:pt x="19" y="51"/>
                                    </a:lnTo>
                                    <a:lnTo>
                                      <a:pt x="20" y="51"/>
                                    </a:lnTo>
                                    <a:lnTo>
                                      <a:pt x="21" y="50"/>
                                    </a:lnTo>
                                    <a:lnTo>
                                      <a:pt x="21" y="50"/>
                                    </a:lnTo>
                                    <a:lnTo>
                                      <a:pt x="22" y="49"/>
                                    </a:lnTo>
                                    <a:lnTo>
                                      <a:pt x="23" y="48"/>
                                    </a:lnTo>
                                    <a:lnTo>
                                      <a:pt x="24" y="48"/>
                                    </a:lnTo>
                                    <a:lnTo>
                                      <a:pt x="24" y="47"/>
                                    </a:lnTo>
                                    <a:lnTo>
                                      <a:pt x="25" y="46"/>
                                    </a:lnTo>
                                    <a:lnTo>
                                      <a:pt x="25" y="45"/>
                                    </a:lnTo>
                                    <a:lnTo>
                                      <a:pt x="26" y="44"/>
                                    </a:lnTo>
                                    <a:lnTo>
                                      <a:pt x="26" y="43"/>
                                    </a:lnTo>
                                    <a:lnTo>
                                      <a:pt x="25" y="42"/>
                                    </a:lnTo>
                                    <a:lnTo>
                                      <a:pt x="25" y="40"/>
                                    </a:lnTo>
                                    <a:lnTo>
                                      <a:pt x="25" y="39"/>
                                    </a:lnTo>
                                    <a:lnTo>
                                      <a:pt x="24" y="38"/>
                                    </a:lnTo>
                                    <a:lnTo>
                                      <a:pt x="23" y="37"/>
                                    </a:lnTo>
                                    <a:lnTo>
                                      <a:pt x="23" y="35"/>
                                    </a:lnTo>
                                    <a:lnTo>
                                      <a:pt x="22" y="34"/>
                                    </a:lnTo>
                                    <a:lnTo>
                                      <a:pt x="21" y="33"/>
                                    </a:lnTo>
                                    <a:lnTo>
                                      <a:pt x="19" y="31"/>
                                    </a:lnTo>
                                    <a:lnTo>
                                      <a:pt x="17" y="30"/>
                                    </a:lnTo>
                                    <a:lnTo>
                                      <a:pt x="16" y="29"/>
                                    </a:lnTo>
                                    <a:lnTo>
                                      <a:pt x="15" y="28"/>
                                    </a:lnTo>
                                    <a:lnTo>
                                      <a:pt x="15" y="27"/>
                                    </a:lnTo>
                                    <a:lnTo>
                                      <a:pt x="14" y="25"/>
                                    </a:lnTo>
                                    <a:lnTo>
                                      <a:pt x="14" y="24"/>
                                    </a:lnTo>
                                    <a:lnTo>
                                      <a:pt x="14" y="23"/>
                                    </a:lnTo>
                                    <a:lnTo>
                                      <a:pt x="14" y="22"/>
                                    </a:lnTo>
                                    <a:lnTo>
                                      <a:pt x="14" y="21"/>
                                    </a:lnTo>
                                    <a:lnTo>
                                      <a:pt x="14" y="19"/>
                                    </a:lnTo>
                                    <a:lnTo>
                                      <a:pt x="14" y="18"/>
                                    </a:lnTo>
                                    <a:lnTo>
                                      <a:pt x="15" y="17"/>
                                    </a:lnTo>
                                    <a:lnTo>
                                      <a:pt x="15" y="17"/>
                                    </a:lnTo>
                                    <a:lnTo>
                                      <a:pt x="15" y="16"/>
                                    </a:lnTo>
                                    <a:lnTo>
                                      <a:pt x="16" y="15"/>
                                    </a:lnTo>
                                    <a:lnTo>
                                      <a:pt x="17" y="13"/>
                                    </a:lnTo>
                                    <a:lnTo>
                                      <a:pt x="18" y="12"/>
                                    </a:lnTo>
                                    <a:lnTo>
                                      <a:pt x="19" y="11"/>
                                    </a:lnTo>
                                    <a:lnTo>
                                      <a:pt x="20" y="9"/>
                                    </a:lnTo>
                                    <a:lnTo>
                                      <a:pt x="21" y="8"/>
                                    </a:lnTo>
                                    <a:lnTo>
                                      <a:pt x="22" y="7"/>
                                    </a:lnTo>
                                    <a:lnTo>
                                      <a:pt x="24" y="5"/>
                                    </a:lnTo>
                                    <a:lnTo>
                                      <a:pt x="25" y="4"/>
                                    </a:lnTo>
                                    <a:lnTo>
                                      <a:pt x="26" y="3"/>
                                    </a:lnTo>
                                    <a:lnTo>
                                      <a:pt x="28" y="2"/>
                                    </a:lnTo>
                                    <a:lnTo>
                                      <a:pt x="29" y="1"/>
                                    </a:lnTo>
                                    <a:lnTo>
                                      <a:pt x="30" y="0"/>
                                    </a:lnTo>
                                    <a:lnTo>
                                      <a:pt x="31" y="0"/>
                                    </a:lnTo>
                                    <a:lnTo>
                                      <a:pt x="31" y="1"/>
                                    </a:lnTo>
                                    <a:lnTo>
                                      <a:pt x="32" y="1"/>
                                    </a:lnTo>
                                    <a:lnTo>
                                      <a:pt x="32" y="1"/>
                                    </a:lnTo>
                                    <a:lnTo>
                                      <a:pt x="33" y="2"/>
                                    </a:lnTo>
                                    <a:lnTo>
                                      <a:pt x="33" y="2"/>
                                    </a:lnTo>
                                    <a:lnTo>
                                      <a:pt x="33" y="3"/>
                                    </a:lnTo>
                                    <a:lnTo>
                                      <a:pt x="34" y="4"/>
                                    </a:lnTo>
                                    <a:lnTo>
                                      <a:pt x="34" y="5"/>
                                    </a:lnTo>
                                    <a:lnTo>
                                      <a:pt x="35" y="6"/>
                                    </a:lnTo>
                                    <a:lnTo>
                                      <a:pt x="35" y="7"/>
                                    </a:lnTo>
                                    <a:lnTo>
                                      <a:pt x="36" y="7"/>
                                    </a:lnTo>
                                    <a:lnTo>
                                      <a:pt x="36" y="7"/>
                                    </a:lnTo>
                                    <a:lnTo>
                                      <a:pt x="36" y="8"/>
                                    </a:lnTo>
                                    <a:lnTo>
                                      <a:pt x="36" y="8"/>
                                    </a:lnTo>
                                    <a:lnTo>
                                      <a:pt x="36" y="8"/>
                                    </a:lnTo>
                                    <a:lnTo>
                                      <a:pt x="36" y="9"/>
                                    </a:lnTo>
                                    <a:lnTo>
                                      <a:pt x="36" y="9"/>
                                    </a:lnTo>
                                    <a:lnTo>
                                      <a:pt x="37" y="9"/>
                                    </a:lnTo>
                                    <a:lnTo>
                                      <a:pt x="37" y="9"/>
                                    </a:lnTo>
                                    <a:lnTo>
                                      <a:pt x="37" y="9"/>
                                    </a:lnTo>
                                    <a:lnTo>
                                      <a:pt x="38" y="10"/>
                                    </a:lnTo>
                                    <a:lnTo>
                                      <a:pt x="38" y="10"/>
                                    </a:lnTo>
                                    <a:lnTo>
                                      <a:pt x="38" y="11"/>
                                    </a:lnTo>
                                    <a:lnTo>
                                      <a:pt x="39" y="11"/>
                                    </a:lnTo>
                                    <a:lnTo>
                                      <a:pt x="39" y="12"/>
                                    </a:lnTo>
                                    <a:lnTo>
                                      <a:pt x="40" y="13"/>
                                    </a:lnTo>
                                    <a:lnTo>
                                      <a:pt x="40" y="13"/>
                                    </a:lnTo>
                                    <a:lnTo>
                                      <a:pt x="41" y="14"/>
                                    </a:lnTo>
                                    <a:lnTo>
                                      <a:pt x="40" y="14"/>
                                    </a:lnTo>
                                    <a:lnTo>
                                      <a:pt x="40" y="15"/>
                                    </a:lnTo>
                                    <a:lnTo>
                                      <a:pt x="41" y="15"/>
                                    </a:lnTo>
                                    <a:lnTo>
                                      <a:pt x="41" y="15"/>
                                    </a:lnTo>
                                    <a:lnTo>
                                      <a:pt x="41" y="15"/>
                                    </a:lnTo>
                                    <a:lnTo>
                                      <a:pt x="41" y="15"/>
                                    </a:lnTo>
                                    <a:lnTo>
                                      <a:pt x="42" y="15"/>
                                    </a:lnTo>
                                    <a:lnTo>
                                      <a:pt x="42" y="15"/>
                                    </a:lnTo>
                                    <a:lnTo>
                                      <a:pt x="42" y="16"/>
                                    </a:lnTo>
                                    <a:lnTo>
                                      <a:pt x="42" y="16"/>
                                    </a:lnTo>
                                    <a:lnTo>
                                      <a:pt x="43" y="17"/>
                                    </a:lnTo>
                                    <a:lnTo>
                                      <a:pt x="43" y="18"/>
                                    </a:lnTo>
                                    <a:lnTo>
                                      <a:pt x="44" y="18"/>
                                    </a:lnTo>
                                    <a:lnTo>
                                      <a:pt x="44" y="19"/>
                                    </a:lnTo>
                                    <a:lnTo>
                                      <a:pt x="45" y="19"/>
                                    </a:lnTo>
                                    <a:lnTo>
                                      <a:pt x="45" y="20"/>
                                    </a:lnTo>
                                    <a:lnTo>
                                      <a:pt x="46" y="20"/>
                                    </a:lnTo>
                                    <a:lnTo>
                                      <a:pt x="45" y="21"/>
                                    </a:lnTo>
                                    <a:lnTo>
                                      <a:pt x="45" y="21"/>
                                    </a:lnTo>
                                    <a:lnTo>
                                      <a:pt x="46" y="21"/>
                                    </a:lnTo>
                                    <a:lnTo>
                                      <a:pt x="46" y="22"/>
                                    </a:lnTo>
                                    <a:lnTo>
                                      <a:pt x="46" y="22"/>
                                    </a:lnTo>
                                    <a:lnTo>
                                      <a:pt x="46" y="22"/>
                                    </a:lnTo>
                                    <a:lnTo>
                                      <a:pt x="47" y="22"/>
                                    </a:lnTo>
                                    <a:lnTo>
                                      <a:pt x="47" y="22"/>
                                    </a:lnTo>
                                    <a:lnTo>
                                      <a:pt x="47" y="23"/>
                                    </a:lnTo>
                                    <a:lnTo>
                                      <a:pt x="48" y="23"/>
                                    </a:lnTo>
                                    <a:lnTo>
                                      <a:pt x="48" y="24"/>
                                    </a:lnTo>
                                    <a:lnTo>
                                      <a:pt x="48" y="24"/>
                                    </a:lnTo>
                                    <a:lnTo>
                                      <a:pt x="49" y="25"/>
                                    </a:lnTo>
                                    <a:lnTo>
                                      <a:pt x="49" y="25"/>
                                    </a:lnTo>
                                    <a:lnTo>
                                      <a:pt x="50" y="26"/>
                                    </a:lnTo>
                                    <a:lnTo>
                                      <a:pt x="50" y="26"/>
                                    </a:lnTo>
                                    <a:lnTo>
                                      <a:pt x="51" y="27"/>
                                    </a:lnTo>
                                    <a:lnTo>
                                      <a:pt x="50" y="28"/>
                                    </a:lnTo>
                                    <a:lnTo>
                                      <a:pt x="50" y="28"/>
                                    </a:lnTo>
                                    <a:lnTo>
                                      <a:pt x="51" y="28"/>
                                    </a:lnTo>
                                    <a:lnTo>
                                      <a:pt x="51" y="28"/>
                                    </a:lnTo>
                                    <a:lnTo>
                                      <a:pt x="51" y="29"/>
                                    </a:lnTo>
                                    <a:lnTo>
                                      <a:pt x="51" y="29"/>
                                    </a:lnTo>
                                    <a:lnTo>
                                      <a:pt x="52" y="29"/>
                                    </a:lnTo>
                                    <a:lnTo>
                                      <a:pt x="52" y="29"/>
                                    </a:lnTo>
                                    <a:lnTo>
                                      <a:pt x="53" y="28"/>
                                    </a:lnTo>
                                    <a:lnTo>
                                      <a:pt x="55" y="27"/>
                                    </a:lnTo>
                                    <a:lnTo>
                                      <a:pt x="56" y="26"/>
                                    </a:lnTo>
                                    <a:lnTo>
                                      <a:pt x="57" y="25"/>
                                    </a:lnTo>
                                    <a:lnTo>
                                      <a:pt x="58" y="24"/>
                                    </a:lnTo>
                                    <a:lnTo>
                                      <a:pt x="59" y="23"/>
                                    </a:lnTo>
                                    <a:lnTo>
                                      <a:pt x="60" y="22"/>
                                    </a:lnTo>
                                    <a:lnTo>
                                      <a:pt x="61" y="20"/>
                                    </a:lnTo>
                                    <a:lnTo>
                                      <a:pt x="61" y="20"/>
                                    </a:lnTo>
                                    <a:lnTo>
                                      <a:pt x="61" y="20"/>
                                    </a:lnTo>
                                    <a:lnTo>
                                      <a:pt x="61" y="20"/>
                                    </a:lnTo>
                                    <a:lnTo>
                                      <a:pt x="61" y="20"/>
                                    </a:lnTo>
                                    <a:lnTo>
                                      <a:pt x="61" y="20"/>
                                    </a:lnTo>
                                    <a:lnTo>
                                      <a:pt x="62" y="20"/>
                                    </a:lnTo>
                                    <a:lnTo>
                                      <a:pt x="62" y="19"/>
                                    </a:lnTo>
                                    <a:lnTo>
                                      <a:pt x="61" y="19"/>
                                    </a:lnTo>
                                    <a:lnTo>
                                      <a:pt x="61" y="19"/>
                                    </a:lnTo>
                                    <a:lnTo>
                                      <a:pt x="61" y="19"/>
                                    </a:lnTo>
                                    <a:lnTo>
                                      <a:pt x="61" y="19"/>
                                    </a:lnTo>
                                    <a:lnTo>
                                      <a:pt x="61" y="18"/>
                                    </a:lnTo>
                                    <a:lnTo>
                                      <a:pt x="61" y="17"/>
                                    </a:lnTo>
                                    <a:lnTo>
                                      <a:pt x="60" y="16"/>
                                    </a:lnTo>
                                    <a:lnTo>
                                      <a:pt x="60" y="15"/>
                                    </a:lnTo>
                                    <a:lnTo>
                                      <a:pt x="61" y="14"/>
                                    </a:lnTo>
                                    <a:lnTo>
                                      <a:pt x="61" y="13"/>
                                    </a:lnTo>
                                    <a:lnTo>
                                      <a:pt x="61" y="13"/>
                                    </a:lnTo>
                                    <a:lnTo>
                                      <a:pt x="61" y="13"/>
                                    </a:lnTo>
                                    <a:lnTo>
                                      <a:pt x="61" y="12"/>
                                    </a:lnTo>
                                    <a:lnTo>
                                      <a:pt x="62" y="12"/>
                                    </a:lnTo>
                                    <a:lnTo>
                                      <a:pt x="62" y="12"/>
                                    </a:lnTo>
                                    <a:lnTo>
                                      <a:pt x="63" y="12"/>
                                    </a:lnTo>
                                    <a:lnTo>
                                      <a:pt x="63" y="12"/>
                                    </a:lnTo>
                                    <a:lnTo>
                                      <a:pt x="63" y="12"/>
                                    </a:lnTo>
                                    <a:lnTo>
                                      <a:pt x="64" y="12"/>
                                    </a:lnTo>
                                    <a:lnTo>
                                      <a:pt x="64" y="11"/>
                                    </a:lnTo>
                                    <a:lnTo>
                                      <a:pt x="64" y="11"/>
                                    </a:lnTo>
                                    <a:lnTo>
                                      <a:pt x="64" y="11"/>
                                    </a:lnTo>
                                    <a:lnTo>
                                      <a:pt x="64" y="11"/>
                                    </a:lnTo>
                                    <a:lnTo>
                                      <a:pt x="64" y="11"/>
                                    </a:lnTo>
                                    <a:lnTo>
                                      <a:pt x="65" y="11"/>
                                    </a:lnTo>
                                    <a:lnTo>
                                      <a:pt x="65" y="11"/>
                                    </a:lnTo>
                                    <a:lnTo>
                                      <a:pt x="66" y="11"/>
                                    </a:lnTo>
                                    <a:lnTo>
                                      <a:pt x="65" y="11"/>
                                    </a:lnTo>
                                    <a:lnTo>
                                      <a:pt x="65" y="11"/>
                                    </a:lnTo>
                                    <a:lnTo>
                                      <a:pt x="66" y="12"/>
                                    </a:lnTo>
                                    <a:lnTo>
                                      <a:pt x="66" y="12"/>
                                    </a:lnTo>
                                    <a:lnTo>
                                      <a:pt x="66" y="12"/>
                                    </a:lnTo>
                                    <a:lnTo>
                                      <a:pt x="66" y="12"/>
                                    </a:lnTo>
                                    <a:lnTo>
                                      <a:pt x="67" y="12"/>
                                    </a:lnTo>
                                    <a:lnTo>
                                      <a:pt x="67" y="12"/>
                                    </a:lnTo>
                                    <a:lnTo>
                                      <a:pt x="68" y="12"/>
                                    </a:lnTo>
                                    <a:lnTo>
                                      <a:pt x="69" y="12"/>
                                    </a:lnTo>
                                    <a:lnTo>
                                      <a:pt x="69" y="12"/>
                                    </a:lnTo>
                                    <a:lnTo>
                                      <a:pt x="70" y="13"/>
                                    </a:lnTo>
                                    <a:lnTo>
                                      <a:pt x="70" y="13"/>
                                    </a:lnTo>
                                    <a:lnTo>
                                      <a:pt x="70" y="13"/>
                                    </a:lnTo>
                                    <a:lnTo>
                                      <a:pt x="71" y="14"/>
                                    </a:lnTo>
                                    <a:lnTo>
                                      <a:pt x="71" y="14"/>
                                    </a:lnTo>
                                    <a:lnTo>
                                      <a:pt x="71" y="14"/>
                                    </a:lnTo>
                                    <a:lnTo>
                                      <a:pt x="71" y="15"/>
                                    </a:lnTo>
                                    <a:lnTo>
                                      <a:pt x="71" y="15"/>
                                    </a:lnTo>
                                    <a:lnTo>
                                      <a:pt x="71" y="16"/>
                                    </a:lnTo>
                                    <a:lnTo>
                                      <a:pt x="71" y="16"/>
                                    </a:lnTo>
                                    <a:lnTo>
                                      <a:pt x="71" y="16"/>
                                    </a:lnTo>
                                    <a:lnTo>
                                      <a:pt x="71" y="17"/>
                                    </a:lnTo>
                                    <a:lnTo>
                                      <a:pt x="71" y="17"/>
                                    </a:lnTo>
                                    <a:lnTo>
                                      <a:pt x="71" y="17"/>
                                    </a:lnTo>
                                    <a:lnTo>
                                      <a:pt x="72" y="17"/>
                                    </a:lnTo>
                                    <a:lnTo>
                                      <a:pt x="72" y="17"/>
                                    </a:lnTo>
                                    <a:lnTo>
                                      <a:pt x="72" y="18"/>
                                    </a:lnTo>
                                    <a:lnTo>
                                      <a:pt x="72" y="18"/>
                                    </a:lnTo>
                                    <a:lnTo>
                                      <a:pt x="73" y="18"/>
                                    </a:lnTo>
                                    <a:lnTo>
                                      <a:pt x="73" y="18"/>
                                    </a:lnTo>
                                    <a:lnTo>
                                      <a:pt x="73" y="19"/>
                                    </a:lnTo>
                                    <a:lnTo>
                                      <a:pt x="74" y="19"/>
                                    </a:lnTo>
                                    <a:lnTo>
                                      <a:pt x="75" y="19"/>
                                    </a:lnTo>
                                    <a:lnTo>
                                      <a:pt x="75" y="19"/>
                                    </a:lnTo>
                                    <a:lnTo>
                                      <a:pt x="76" y="19"/>
                                    </a:lnTo>
                                    <a:lnTo>
                                      <a:pt x="76" y="19"/>
                                    </a:lnTo>
                                    <a:lnTo>
                                      <a:pt x="77" y="19"/>
                                    </a:lnTo>
                                    <a:lnTo>
                                      <a:pt x="77" y="20"/>
                                    </a:lnTo>
                                    <a:lnTo>
                                      <a:pt x="77" y="20"/>
                                    </a:lnTo>
                                    <a:lnTo>
                                      <a:pt x="77" y="20"/>
                                    </a:lnTo>
                                    <a:lnTo>
                                      <a:pt x="77" y="21"/>
                                    </a:lnTo>
                                    <a:lnTo>
                                      <a:pt x="77" y="21"/>
                                    </a:lnTo>
                                    <a:lnTo>
                                      <a:pt x="77" y="21"/>
                                    </a:lnTo>
                                    <a:lnTo>
                                      <a:pt x="77" y="22"/>
                                    </a:lnTo>
                                    <a:lnTo>
                                      <a:pt x="78" y="22"/>
                                    </a:lnTo>
                                    <a:lnTo>
                                      <a:pt x="78" y="22"/>
                                    </a:lnTo>
                                    <a:lnTo>
                                      <a:pt x="78" y="22"/>
                                    </a:lnTo>
                                    <a:lnTo>
                                      <a:pt x="79" y="22"/>
                                    </a:lnTo>
                                    <a:lnTo>
                                      <a:pt x="79" y="22"/>
                                    </a:lnTo>
                                    <a:lnTo>
                                      <a:pt x="79" y="23"/>
                                    </a:lnTo>
                                    <a:lnTo>
                                      <a:pt x="79" y="23"/>
                                    </a:lnTo>
                                    <a:lnTo>
                                      <a:pt x="79" y="23"/>
                                    </a:lnTo>
                                    <a:lnTo>
                                      <a:pt x="80" y="24"/>
                                    </a:lnTo>
                                    <a:lnTo>
                                      <a:pt x="81" y="24"/>
                                    </a:lnTo>
                                    <a:lnTo>
                                      <a:pt x="82" y="24"/>
                                    </a:lnTo>
                                    <a:lnTo>
                                      <a:pt x="83" y="24"/>
                                    </a:lnTo>
                                    <a:lnTo>
                                      <a:pt x="83" y="24"/>
                                    </a:lnTo>
                                    <a:lnTo>
                                      <a:pt x="84" y="24"/>
                                    </a:lnTo>
                                    <a:lnTo>
                                      <a:pt x="85" y="24"/>
                                    </a:lnTo>
                                    <a:lnTo>
                                      <a:pt x="86" y="24"/>
                                    </a:lnTo>
                                    <a:lnTo>
                                      <a:pt x="87" y="24"/>
                                    </a:lnTo>
                                    <a:lnTo>
                                      <a:pt x="88" y="23"/>
                                    </a:lnTo>
                                    <a:lnTo>
                                      <a:pt x="89" y="23"/>
                                    </a:lnTo>
                                    <a:lnTo>
                                      <a:pt x="90" y="23"/>
                                    </a:lnTo>
                                    <a:lnTo>
                                      <a:pt x="90" y="22"/>
                                    </a:lnTo>
                                    <a:lnTo>
                                      <a:pt x="90" y="22"/>
                                    </a:lnTo>
                                    <a:lnTo>
                                      <a:pt x="90" y="22"/>
                                    </a:lnTo>
                                    <a:lnTo>
                                      <a:pt x="91" y="22"/>
                                    </a:lnTo>
                                    <a:lnTo>
                                      <a:pt x="91" y="22"/>
                                    </a:lnTo>
                                    <a:lnTo>
                                      <a:pt x="92" y="22"/>
                                    </a:lnTo>
                                    <a:lnTo>
                                      <a:pt x="92" y="22"/>
                                    </a:lnTo>
                                    <a:lnTo>
                                      <a:pt x="92" y="21"/>
                                    </a:lnTo>
                                    <a:lnTo>
                                      <a:pt x="92" y="21"/>
                                    </a:lnTo>
                                    <a:lnTo>
                                      <a:pt x="92" y="21"/>
                                    </a:lnTo>
                                    <a:lnTo>
                                      <a:pt x="92" y="20"/>
                                    </a:lnTo>
                                    <a:lnTo>
                                      <a:pt x="94" y="21"/>
                                    </a:lnTo>
                                    <a:lnTo>
                                      <a:pt x="95" y="21"/>
                                    </a:lnTo>
                                    <a:lnTo>
                                      <a:pt x="96" y="21"/>
                                    </a:lnTo>
                                    <a:lnTo>
                                      <a:pt x="97" y="21"/>
                                    </a:lnTo>
                                    <a:lnTo>
                                      <a:pt x="98" y="20"/>
                                    </a:lnTo>
                                    <a:lnTo>
                                      <a:pt x="99" y="20"/>
                                    </a:lnTo>
                                    <a:lnTo>
                                      <a:pt x="100" y="20"/>
                                    </a:lnTo>
                                    <a:lnTo>
                                      <a:pt x="100" y="19"/>
                                    </a:lnTo>
                                    <a:lnTo>
                                      <a:pt x="101" y="19"/>
                                    </a:lnTo>
                                    <a:lnTo>
                                      <a:pt x="102" y="18"/>
                                    </a:lnTo>
                                    <a:lnTo>
                                      <a:pt x="103" y="17"/>
                                    </a:lnTo>
                                    <a:lnTo>
                                      <a:pt x="104" y="16"/>
                                    </a:lnTo>
                                    <a:lnTo>
                                      <a:pt x="105" y="16"/>
                                    </a:lnTo>
                                    <a:lnTo>
                                      <a:pt x="106" y="15"/>
                                    </a:lnTo>
                                    <a:lnTo>
                                      <a:pt x="106" y="16"/>
                                    </a:lnTo>
                                    <a:lnTo>
                                      <a:pt x="107" y="16"/>
                                    </a:lnTo>
                                    <a:lnTo>
                                      <a:pt x="107" y="15"/>
                                    </a:lnTo>
                                    <a:lnTo>
                                      <a:pt x="108" y="15"/>
                                    </a:lnTo>
                                    <a:lnTo>
                                      <a:pt x="108" y="15"/>
                                    </a:lnTo>
                                    <a:lnTo>
                                      <a:pt x="108" y="15"/>
                                    </a:lnTo>
                                    <a:lnTo>
                                      <a:pt x="109" y="14"/>
                                    </a:lnTo>
                                    <a:lnTo>
                                      <a:pt x="109" y="14"/>
                                    </a:lnTo>
                                    <a:lnTo>
                                      <a:pt x="109" y="14"/>
                                    </a:lnTo>
                                    <a:lnTo>
                                      <a:pt x="110" y="14"/>
                                    </a:lnTo>
                                    <a:lnTo>
                                      <a:pt x="110" y="14"/>
                                    </a:lnTo>
                                    <a:lnTo>
                                      <a:pt x="111" y="14"/>
                                    </a:lnTo>
                                    <a:lnTo>
                                      <a:pt x="111" y="14"/>
                                    </a:lnTo>
                                    <a:lnTo>
                                      <a:pt x="111" y="14"/>
                                    </a:lnTo>
                                    <a:lnTo>
                                      <a:pt x="112" y="14"/>
                                    </a:lnTo>
                                    <a:lnTo>
                                      <a:pt x="112" y="13"/>
                                    </a:lnTo>
                                    <a:lnTo>
                                      <a:pt x="112" y="13"/>
                                    </a:lnTo>
                                    <a:lnTo>
                                      <a:pt x="112" y="13"/>
                                    </a:lnTo>
                                    <a:lnTo>
                                      <a:pt x="112" y="12"/>
                                    </a:lnTo>
                                    <a:lnTo>
                                      <a:pt x="112" y="12"/>
                                    </a:lnTo>
                                    <a:lnTo>
                                      <a:pt x="112" y="12"/>
                                    </a:lnTo>
                                    <a:lnTo>
                                      <a:pt x="112" y="11"/>
                                    </a:lnTo>
                                    <a:lnTo>
                                      <a:pt x="112" y="11"/>
                                    </a:lnTo>
                                    <a:lnTo>
                                      <a:pt x="112" y="11"/>
                                    </a:lnTo>
                                    <a:lnTo>
                                      <a:pt x="113" y="11"/>
                                    </a:lnTo>
                                    <a:lnTo>
                                      <a:pt x="113" y="10"/>
                                    </a:lnTo>
                                    <a:lnTo>
                                      <a:pt x="113" y="10"/>
                                    </a:lnTo>
                                    <a:lnTo>
                                      <a:pt x="114" y="11"/>
                                    </a:lnTo>
                                    <a:lnTo>
                                      <a:pt x="116" y="11"/>
                                    </a:lnTo>
                                    <a:lnTo>
                                      <a:pt x="119" y="11"/>
                                    </a:lnTo>
                                    <a:lnTo>
                                      <a:pt x="119" y="11"/>
                                    </a:lnTo>
                                    <a:lnTo>
                                      <a:pt x="120" y="11"/>
                                    </a:lnTo>
                                    <a:lnTo>
                                      <a:pt x="120" y="11"/>
                                    </a:lnTo>
                                    <a:lnTo>
                                      <a:pt x="121" y="11"/>
                                    </a:lnTo>
                                    <a:lnTo>
                                      <a:pt x="122" y="11"/>
                                    </a:lnTo>
                                    <a:lnTo>
                                      <a:pt x="122" y="11"/>
                                    </a:lnTo>
                                    <a:lnTo>
                                      <a:pt x="122" y="11"/>
                                    </a:lnTo>
                                    <a:lnTo>
                                      <a:pt x="122" y="12"/>
                                    </a:lnTo>
                                    <a:lnTo>
                                      <a:pt x="122" y="12"/>
                                    </a:lnTo>
                                    <a:lnTo>
                                      <a:pt x="123" y="12"/>
                                    </a:lnTo>
                                    <a:lnTo>
                                      <a:pt x="123" y="12"/>
                                    </a:lnTo>
                                    <a:lnTo>
                                      <a:pt x="123" y="12"/>
                                    </a:lnTo>
                                    <a:lnTo>
                                      <a:pt x="124" y="12"/>
                                    </a:lnTo>
                                    <a:lnTo>
                                      <a:pt x="125" y="12"/>
                                    </a:lnTo>
                                    <a:lnTo>
                                      <a:pt x="125" y="12"/>
                                    </a:lnTo>
                                    <a:lnTo>
                                      <a:pt x="126" y="12"/>
                                    </a:lnTo>
                                    <a:lnTo>
                                      <a:pt x="126" y="12"/>
                                    </a:lnTo>
                                    <a:lnTo>
                                      <a:pt x="127" y="13"/>
                                    </a:lnTo>
                                    <a:lnTo>
                                      <a:pt x="127" y="13"/>
                                    </a:lnTo>
                                    <a:lnTo>
                                      <a:pt x="128" y="13"/>
                                    </a:lnTo>
                                    <a:lnTo>
                                      <a:pt x="128" y="14"/>
                                    </a:lnTo>
                                    <a:lnTo>
                                      <a:pt x="129" y="14"/>
                                    </a:lnTo>
                                    <a:lnTo>
                                      <a:pt x="129" y="15"/>
                                    </a:lnTo>
                                    <a:lnTo>
                                      <a:pt x="130" y="16"/>
                                    </a:lnTo>
                                    <a:lnTo>
                                      <a:pt x="131" y="17"/>
                                    </a:lnTo>
                                    <a:lnTo>
                                      <a:pt x="130" y="18"/>
                                    </a:lnTo>
                                    <a:lnTo>
                                      <a:pt x="130" y="18"/>
                                    </a:lnTo>
                                    <a:lnTo>
                                      <a:pt x="131" y="18"/>
                                    </a:lnTo>
                                    <a:lnTo>
                                      <a:pt x="131" y="18"/>
                                    </a:lnTo>
                                    <a:lnTo>
                                      <a:pt x="131" y="19"/>
                                    </a:lnTo>
                                    <a:lnTo>
                                      <a:pt x="131" y="19"/>
                                    </a:lnTo>
                                    <a:lnTo>
                                      <a:pt x="132" y="19"/>
                                    </a:lnTo>
                                    <a:lnTo>
                                      <a:pt x="132" y="19"/>
                                    </a:lnTo>
                                    <a:lnTo>
                                      <a:pt x="132" y="19"/>
                                    </a:lnTo>
                                    <a:lnTo>
                                      <a:pt x="132" y="20"/>
                                    </a:lnTo>
                                    <a:lnTo>
                                      <a:pt x="133" y="20"/>
                                    </a:lnTo>
                                    <a:lnTo>
                                      <a:pt x="133" y="20"/>
                                    </a:lnTo>
                                    <a:lnTo>
                                      <a:pt x="133" y="21"/>
                                    </a:lnTo>
                                    <a:lnTo>
                                      <a:pt x="134" y="22"/>
                                    </a:lnTo>
                                    <a:lnTo>
                                      <a:pt x="134" y="22"/>
                                    </a:lnTo>
                                    <a:lnTo>
                                      <a:pt x="134" y="23"/>
                                    </a:lnTo>
                                    <a:lnTo>
                                      <a:pt x="134" y="23"/>
                                    </a:lnTo>
                                    <a:lnTo>
                                      <a:pt x="134" y="23"/>
                                    </a:lnTo>
                                    <a:lnTo>
                                      <a:pt x="134" y="23"/>
                                    </a:lnTo>
                                    <a:lnTo>
                                      <a:pt x="134" y="24"/>
                                    </a:lnTo>
                                    <a:lnTo>
                                      <a:pt x="135" y="24"/>
                                    </a:lnTo>
                                    <a:lnTo>
                                      <a:pt x="135" y="24"/>
                                    </a:lnTo>
                                    <a:lnTo>
                                      <a:pt x="136" y="24"/>
                                    </a:lnTo>
                                    <a:lnTo>
                                      <a:pt x="136" y="24"/>
                                    </a:lnTo>
                                    <a:lnTo>
                                      <a:pt x="136" y="25"/>
                                    </a:lnTo>
                                    <a:lnTo>
                                      <a:pt x="136" y="25"/>
                                    </a:lnTo>
                                    <a:lnTo>
                                      <a:pt x="136" y="26"/>
                                    </a:lnTo>
                                    <a:lnTo>
                                      <a:pt x="137" y="26"/>
                                    </a:lnTo>
                                    <a:lnTo>
                                      <a:pt x="137" y="27"/>
                                    </a:lnTo>
                                    <a:lnTo>
                                      <a:pt x="137" y="27"/>
                                    </a:lnTo>
                                    <a:lnTo>
                                      <a:pt x="137" y="28"/>
                                    </a:lnTo>
                                    <a:lnTo>
                                      <a:pt x="137" y="28"/>
                                    </a:lnTo>
                                    <a:lnTo>
                                      <a:pt x="137" y="28"/>
                                    </a:lnTo>
                                    <a:lnTo>
                                      <a:pt x="137" y="28"/>
                                    </a:lnTo>
                                    <a:lnTo>
                                      <a:pt x="138" y="29"/>
                                    </a:lnTo>
                                    <a:lnTo>
                                      <a:pt x="138" y="29"/>
                                    </a:lnTo>
                                    <a:lnTo>
                                      <a:pt x="138" y="29"/>
                                    </a:lnTo>
                                    <a:lnTo>
                                      <a:pt x="139" y="29"/>
                                    </a:lnTo>
                                    <a:lnTo>
                                      <a:pt x="140" y="29"/>
                                    </a:lnTo>
                                    <a:lnTo>
                                      <a:pt x="142" y="29"/>
                                    </a:lnTo>
                                    <a:lnTo>
                                      <a:pt x="144" y="29"/>
                                    </a:lnTo>
                                    <a:lnTo>
                                      <a:pt x="145" y="29"/>
                                    </a:lnTo>
                                    <a:lnTo>
                                      <a:pt x="145" y="29"/>
                                    </a:lnTo>
                                    <a:lnTo>
                                      <a:pt x="145" y="29"/>
                                    </a:lnTo>
                                    <a:lnTo>
                                      <a:pt x="145" y="30"/>
                                    </a:lnTo>
                                    <a:lnTo>
                                      <a:pt x="146" y="30"/>
                                    </a:lnTo>
                                    <a:lnTo>
                                      <a:pt x="146" y="30"/>
                                    </a:lnTo>
                                    <a:lnTo>
                                      <a:pt x="146" y="30"/>
                                    </a:lnTo>
                                    <a:lnTo>
                                      <a:pt x="147" y="30"/>
                                    </a:lnTo>
                                    <a:lnTo>
                                      <a:pt x="147" y="30"/>
                                    </a:lnTo>
                                    <a:lnTo>
                                      <a:pt x="148" y="30"/>
                                    </a:lnTo>
                                    <a:lnTo>
                                      <a:pt x="149" y="30"/>
                                    </a:lnTo>
                                    <a:lnTo>
                                      <a:pt x="150" y="30"/>
                                    </a:lnTo>
                                    <a:lnTo>
                                      <a:pt x="151" y="30"/>
                                    </a:lnTo>
                                    <a:lnTo>
                                      <a:pt x="150" y="31"/>
                                    </a:lnTo>
                                    <a:lnTo>
                                      <a:pt x="150" y="31"/>
                                    </a:lnTo>
                                    <a:lnTo>
                                      <a:pt x="151" y="31"/>
                                    </a:lnTo>
                                    <a:lnTo>
                                      <a:pt x="151" y="32"/>
                                    </a:lnTo>
                                    <a:lnTo>
                                      <a:pt x="151" y="32"/>
                                    </a:lnTo>
                                    <a:lnTo>
                                      <a:pt x="151" y="32"/>
                                    </a:lnTo>
                                    <a:lnTo>
                                      <a:pt x="152" y="32"/>
                                    </a:lnTo>
                                    <a:lnTo>
                                      <a:pt x="152" y="32"/>
                                    </a:lnTo>
                                    <a:lnTo>
                                      <a:pt x="152" y="33"/>
                                    </a:lnTo>
                                    <a:lnTo>
                                      <a:pt x="152" y="33"/>
                                    </a:lnTo>
                                    <a:lnTo>
                                      <a:pt x="153" y="33"/>
                                    </a:lnTo>
                                    <a:lnTo>
                                      <a:pt x="153" y="34"/>
                                    </a:lnTo>
                                    <a:lnTo>
                                      <a:pt x="153" y="35"/>
                                    </a:lnTo>
                                    <a:lnTo>
                                      <a:pt x="154" y="35"/>
                                    </a:lnTo>
                                    <a:lnTo>
                                      <a:pt x="154" y="35"/>
                                    </a:lnTo>
                                    <a:lnTo>
                                      <a:pt x="154" y="36"/>
                                    </a:lnTo>
                                    <a:lnTo>
                                      <a:pt x="154" y="36"/>
                                    </a:lnTo>
                                    <a:lnTo>
                                      <a:pt x="154" y="37"/>
                                    </a:lnTo>
                                    <a:lnTo>
                                      <a:pt x="154" y="37"/>
                                    </a:lnTo>
                                    <a:lnTo>
                                      <a:pt x="154" y="37"/>
                                    </a:lnTo>
                                    <a:lnTo>
                                      <a:pt x="155" y="37"/>
                                    </a:lnTo>
                                    <a:lnTo>
                                      <a:pt x="155" y="37"/>
                                    </a:lnTo>
                                    <a:lnTo>
                                      <a:pt x="155" y="37"/>
                                    </a:lnTo>
                                    <a:lnTo>
                                      <a:pt x="155" y="38"/>
                                    </a:lnTo>
                                    <a:lnTo>
                                      <a:pt x="156" y="38"/>
                                    </a:lnTo>
                                    <a:lnTo>
                                      <a:pt x="156" y="38"/>
                                    </a:lnTo>
                                    <a:lnTo>
                                      <a:pt x="156" y="39"/>
                                    </a:lnTo>
                                    <a:lnTo>
                                      <a:pt x="156" y="39"/>
                                    </a:lnTo>
                                    <a:lnTo>
                                      <a:pt x="157" y="39"/>
                                    </a:lnTo>
                                    <a:lnTo>
                                      <a:pt x="157" y="39"/>
                                    </a:lnTo>
                                    <a:lnTo>
                                      <a:pt x="157" y="39"/>
                                    </a:lnTo>
                                    <a:lnTo>
                                      <a:pt x="157" y="39"/>
                                    </a:lnTo>
                                    <a:lnTo>
                                      <a:pt x="157" y="40"/>
                                    </a:lnTo>
                                    <a:lnTo>
                                      <a:pt x="157" y="40"/>
                                    </a:lnTo>
                                    <a:lnTo>
                                      <a:pt x="158" y="40"/>
                                    </a:lnTo>
                                    <a:lnTo>
                                      <a:pt x="158" y="40"/>
                                    </a:lnTo>
                                    <a:lnTo>
                                      <a:pt x="158" y="40"/>
                                    </a:lnTo>
                                    <a:lnTo>
                                      <a:pt x="159" y="40"/>
                                    </a:lnTo>
                                    <a:lnTo>
                                      <a:pt x="160" y="41"/>
                                    </a:lnTo>
                                    <a:lnTo>
                                      <a:pt x="160" y="41"/>
                                    </a:lnTo>
                                    <a:lnTo>
                                      <a:pt x="161" y="42"/>
                                    </a:lnTo>
                                    <a:lnTo>
                                      <a:pt x="162" y="42"/>
                                    </a:lnTo>
                                    <a:lnTo>
                                      <a:pt x="163" y="42"/>
                                    </a:lnTo>
                                    <a:lnTo>
                                      <a:pt x="164" y="42"/>
                                    </a:lnTo>
                                    <a:lnTo>
                                      <a:pt x="165" y="42"/>
                                    </a:lnTo>
                                    <a:lnTo>
                                      <a:pt x="166" y="42"/>
                                    </a:lnTo>
                                    <a:lnTo>
                                      <a:pt x="168" y="42"/>
                                    </a:lnTo>
                                    <a:lnTo>
                                      <a:pt x="171" y="42"/>
                                    </a:lnTo>
                                    <a:lnTo>
                                      <a:pt x="173" y="42"/>
                                    </a:lnTo>
                                    <a:lnTo>
                                      <a:pt x="174" y="42"/>
                                    </a:lnTo>
                                    <a:lnTo>
                                      <a:pt x="176" y="42"/>
                                    </a:lnTo>
                                    <a:lnTo>
                                      <a:pt x="176" y="42"/>
                                    </a:lnTo>
                                    <a:lnTo>
                                      <a:pt x="176" y="43"/>
                                    </a:lnTo>
                                    <a:lnTo>
                                      <a:pt x="176" y="43"/>
                                    </a:lnTo>
                                    <a:lnTo>
                                      <a:pt x="176" y="43"/>
                                    </a:lnTo>
                                    <a:lnTo>
                                      <a:pt x="176" y="43"/>
                                    </a:lnTo>
                                    <a:lnTo>
                                      <a:pt x="176" y="43"/>
                                    </a:lnTo>
                                    <a:lnTo>
                                      <a:pt x="176" y="43"/>
                                    </a:lnTo>
                                    <a:lnTo>
                                      <a:pt x="177" y="43"/>
                                    </a:lnTo>
                                    <a:lnTo>
                                      <a:pt x="177" y="43"/>
                                    </a:lnTo>
                                    <a:lnTo>
                                      <a:pt x="177" y="42"/>
                                    </a:lnTo>
                                    <a:lnTo>
                                      <a:pt x="177" y="42"/>
                                    </a:lnTo>
                                    <a:lnTo>
                                      <a:pt x="178" y="42"/>
                                    </a:lnTo>
                                    <a:lnTo>
                                      <a:pt x="179" y="42"/>
                                    </a:lnTo>
                                    <a:lnTo>
                                      <a:pt x="180" y="42"/>
                                    </a:lnTo>
                                    <a:lnTo>
                                      <a:pt x="181" y="42"/>
                                    </a:lnTo>
                                    <a:lnTo>
                                      <a:pt x="182" y="42"/>
                                    </a:lnTo>
                                    <a:lnTo>
                                      <a:pt x="182" y="41"/>
                                    </a:lnTo>
                                    <a:lnTo>
                                      <a:pt x="183" y="41"/>
                                    </a:lnTo>
                                    <a:lnTo>
                                      <a:pt x="184" y="40"/>
                                    </a:lnTo>
                                    <a:lnTo>
                                      <a:pt x="184" y="40"/>
                                    </a:lnTo>
                                    <a:lnTo>
                                      <a:pt x="185" y="39"/>
                                    </a:lnTo>
                                    <a:lnTo>
                                      <a:pt x="185" y="38"/>
                                    </a:lnTo>
                                    <a:lnTo>
                                      <a:pt x="186" y="37"/>
                                    </a:lnTo>
                                    <a:lnTo>
                                      <a:pt x="187" y="35"/>
                                    </a:lnTo>
                                    <a:lnTo>
                                      <a:pt x="188" y="36"/>
                                    </a:lnTo>
                                    <a:lnTo>
                                      <a:pt x="188" y="35"/>
                                    </a:lnTo>
                                    <a:lnTo>
                                      <a:pt x="188" y="35"/>
                                    </a:lnTo>
                                    <a:lnTo>
                                      <a:pt x="188" y="35"/>
                                    </a:lnTo>
                                    <a:lnTo>
                                      <a:pt x="189" y="35"/>
                                    </a:lnTo>
                                    <a:lnTo>
                                      <a:pt x="189" y="34"/>
                                    </a:lnTo>
                                    <a:lnTo>
                                      <a:pt x="189" y="34"/>
                                    </a:lnTo>
                                    <a:lnTo>
                                      <a:pt x="189" y="34"/>
                                    </a:lnTo>
                                    <a:lnTo>
                                      <a:pt x="189" y="34"/>
                                    </a:lnTo>
                                    <a:lnTo>
                                      <a:pt x="190" y="34"/>
                                    </a:lnTo>
                                    <a:lnTo>
                                      <a:pt x="190" y="34"/>
                                    </a:lnTo>
                                    <a:lnTo>
                                      <a:pt x="190" y="35"/>
                                    </a:lnTo>
                                    <a:lnTo>
                                      <a:pt x="190" y="35"/>
                                    </a:lnTo>
                                    <a:lnTo>
                                      <a:pt x="190" y="36"/>
                                    </a:lnTo>
                                    <a:lnTo>
                                      <a:pt x="190" y="36"/>
                                    </a:lnTo>
                                    <a:lnTo>
                                      <a:pt x="190" y="37"/>
                                    </a:lnTo>
                                    <a:lnTo>
                                      <a:pt x="190" y="38"/>
                                    </a:lnTo>
                                    <a:lnTo>
                                      <a:pt x="190" y="38"/>
                                    </a:lnTo>
                                    <a:lnTo>
                                      <a:pt x="190" y="38"/>
                                    </a:lnTo>
                                    <a:lnTo>
                                      <a:pt x="191" y="38"/>
                                    </a:lnTo>
                                    <a:lnTo>
                                      <a:pt x="191" y="39"/>
                                    </a:lnTo>
                                    <a:lnTo>
                                      <a:pt x="191" y="39"/>
                                    </a:lnTo>
                                    <a:lnTo>
                                      <a:pt x="192" y="39"/>
                                    </a:lnTo>
                                    <a:lnTo>
                                      <a:pt x="192" y="39"/>
                                    </a:lnTo>
                                    <a:lnTo>
                                      <a:pt x="193" y="39"/>
                                    </a:lnTo>
                                    <a:lnTo>
                                      <a:pt x="193" y="39"/>
                                    </a:lnTo>
                                    <a:lnTo>
                                      <a:pt x="194" y="39"/>
                                    </a:lnTo>
                                    <a:lnTo>
                                      <a:pt x="194" y="39"/>
                                    </a:lnTo>
                                    <a:lnTo>
                                      <a:pt x="195" y="40"/>
                                    </a:lnTo>
                                    <a:lnTo>
                                      <a:pt x="196" y="41"/>
                                    </a:lnTo>
                                    <a:lnTo>
                                      <a:pt x="197" y="41"/>
                                    </a:lnTo>
                                    <a:lnTo>
                                      <a:pt x="197" y="42"/>
                                    </a:lnTo>
                                    <a:lnTo>
                                      <a:pt x="198" y="43"/>
                                    </a:lnTo>
                                    <a:lnTo>
                                      <a:pt x="199" y="44"/>
                                    </a:lnTo>
                                    <a:lnTo>
                                      <a:pt x="199" y="44"/>
                                    </a:lnTo>
                                    <a:lnTo>
                                      <a:pt x="199" y="45"/>
                                    </a:lnTo>
                                    <a:lnTo>
                                      <a:pt x="199" y="45"/>
                                    </a:lnTo>
                                    <a:lnTo>
                                      <a:pt x="199" y="45"/>
                                    </a:lnTo>
                                    <a:lnTo>
                                      <a:pt x="200" y="46"/>
                                    </a:lnTo>
                                    <a:lnTo>
                                      <a:pt x="200" y="47"/>
                                    </a:lnTo>
                                    <a:lnTo>
                                      <a:pt x="200" y="47"/>
                                    </a:lnTo>
                                    <a:lnTo>
                                      <a:pt x="200" y="47"/>
                                    </a:lnTo>
                                    <a:lnTo>
                                      <a:pt x="199" y="47"/>
                                    </a:lnTo>
                                    <a:lnTo>
                                      <a:pt x="198" y="47"/>
                                    </a:lnTo>
                                    <a:lnTo>
                                      <a:pt x="198" y="47"/>
                                    </a:lnTo>
                                    <a:lnTo>
                                      <a:pt x="197" y="48"/>
                                    </a:lnTo>
                                    <a:lnTo>
                                      <a:pt x="197" y="48"/>
                                    </a:lnTo>
                                    <a:lnTo>
                                      <a:pt x="196" y="48"/>
                                    </a:lnTo>
                                    <a:lnTo>
                                      <a:pt x="196" y="48"/>
                                    </a:lnTo>
                                    <a:lnTo>
                                      <a:pt x="195" y="49"/>
                                    </a:lnTo>
                                    <a:lnTo>
                                      <a:pt x="195" y="50"/>
                                    </a:lnTo>
                                    <a:lnTo>
                                      <a:pt x="194" y="51"/>
                                    </a:lnTo>
                                    <a:lnTo>
                                      <a:pt x="194" y="52"/>
                                    </a:lnTo>
                                    <a:lnTo>
                                      <a:pt x="194" y="53"/>
                                    </a:lnTo>
                                    <a:lnTo>
                                      <a:pt x="194" y="54"/>
                                    </a:lnTo>
                                    <a:lnTo>
                                      <a:pt x="194" y="54"/>
                                    </a:lnTo>
                                    <a:lnTo>
                                      <a:pt x="195" y="55"/>
                                    </a:lnTo>
                                    <a:lnTo>
                                      <a:pt x="196" y="56"/>
                                    </a:lnTo>
                                    <a:lnTo>
                                      <a:pt x="196" y="58"/>
                                    </a:lnTo>
                                    <a:lnTo>
                                      <a:pt x="197" y="58"/>
                                    </a:lnTo>
                                    <a:lnTo>
                                      <a:pt x="197" y="59"/>
                                    </a:lnTo>
                                    <a:lnTo>
                                      <a:pt x="197" y="60"/>
                                    </a:lnTo>
                                    <a:lnTo>
                                      <a:pt x="197" y="61"/>
                                    </a:lnTo>
                                    <a:lnTo>
                                      <a:pt x="198" y="62"/>
                                    </a:lnTo>
                                    <a:lnTo>
                                      <a:pt x="198" y="63"/>
                                    </a:lnTo>
                                    <a:lnTo>
                                      <a:pt x="197" y="64"/>
                                    </a:lnTo>
                                    <a:lnTo>
                                      <a:pt x="197" y="65"/>
                                    </a:lnTo>
                                    <a:lnTo>
                                      <a:pt x="195" y="67"/>
                                    </a:lnTo>
                                    <a:lnTo>
                                      <a:pt x="193" y="68"/>
                                    </a:lnTo>
                                    <a:lnTo>
                                      <a:pt x="188" y="71"/>
                                    </a:lnTo>
                                    <a:lnTo>
                                      <a:pt x="186" y="72"/>
                                    </a:lnTo>
                                    <a:lnTo>
                                      <a:pt x="184" y="73"/>
                                    </a:lnTo>
                                    <a:lnTo>
                                      <a:pt x="181" y="74"/>
                                    </a:lnTo>
                                    <a:lnTo>
                                      <a:pt x="179" y="75"/>
                                    </a:lnTo>
                                    <a:lnTo>
                                      <a:pt x="179" y="79"/>
                                    </a:lnTo>
                                    <a:lnTo>
                                      <a:pt x="179" y="82"/>
                                    </a:lnTo>
                                    <a:lnTo>
                                      <a:pt x="179" y="85"/>
                                    </a:lnTo>
                                    <a:lnTo>
                                      <a:pt x="179" y="88"/>
                                    </a:lnTo>
                                    <a:lnTo>
                                      <a:pt x="179" y="91"/>
                                    </a:lnTo>
                                    <a:lnTo>
                                      <a:pt x="179" y="93"/>
                                    </a:lnTo>
                                    <a:lnTo>
                                      <a:pt x="180" y="96"/>
                                    </a:lnTo>
                                    <a:lnTo>
                                      <a:pt x="181" y="99"/>
                                    </a:lnTo>
                                    <a:lnTo>
                                      <a:pt x="180" y="99"/>
                                    </a:lnTo>
                                    <a:lnTo>
                                      <a:pt x="180" y="99"/>
                                    </a:lnTo>
                                    <a:lnTo>
                                      <a:pt x="181" y="100"/>
                                    </a:lnTo>
                                    <a:lnTo>
                                      <a:pt x="181" y="100"/>
                                    </a:lnTo>
                                    <a:lnTo>
                                      <a:pt x="181" y="100"/>
                                    </a:lnTo>
                                    <a:lnTo>
                                      <a:pt x="181" y="100"/>
                                    </a:lnTo>
                                    <a:lnTo>
                                      <a:pt x="182" y="100"/>
                                    </a:lnTo>
                                    <a:lnTo>
                                      <a:pt x="182" y="100"/>
                                    </a:lnTo>
                                    <a:lnTo>
                                      <a:pt x="182" y="101"/>
                                    </a:lnTo>
                                    <a:lnTo>
                                      <a:pt x="182" y="101"/>
                                    </a:lnTo>
                                    <a:lnTo>
                                      <a:pt x="182" y="102"/>
                                    </a:lnTo>
                                    <a:lnTo>
                                      <a:pt x="182" y="102"/>
                                    </a:lnTo>
                                    <a:lnTo>
                                      <a:pt x="182" y="102"/>
                                    </a:lnTo>
                                    <a:lnTo>
                                      <a:pt x="182" y="103"/>
                                    </a:lnTo>
                                    <a:lnTo>
                                      <a:pt x="182" y="103"/>
                                    </a:lnTo>
                                    <a:lnTo>
                                      <a:pt x="182" y="103"/>
                                    </a:lnTo>
                                    <a:lnTo>
                                      <a:pt x="183" y="103"/>
                                    </a:lnTo>
                                    <a:lnTo>
                                      <a:pt x="183" y="103"/>
                                    </a:lnTo>
                                    <a:lnTo>
                                      <a:pt x="183" y="104"/>
                                    </a:lnTo>
                                    <a:lnTo>
                                      <a:pt x="184" y="104"/>
                                    </a:lnTo>
                                    <a:lnTo>
                                      <a:pt x="184" y="104"/>
                                    </a:lnTo>
                                    <a:lnTo>
                                      <a:pt x="184" y="104"/>
                                    </a:lnTo>
                                    <a:lnTo>
                                      <a:pt x="184" y="105"/>
                                    </a:lnTo>
                                    <a:lnTo>
                                      <a:pt x="184" y="105"/>
                                    </a:lnTo>
                                    <a:lnTo>
                                      <a:pt x="184" y="106"/>
                                    </a:lnTo>
                                    <a:lnTo>
                                      <a:pt x="184" y="106"/>
                                    </a:lnTo>
                                    <a:lnTo>
                                      <a:pt x="184" y="106"/>
                                    </a:lnTo>
                                    <a:lnTo>
                                      <a:pt x="184" y="107"/>
                                    </a:lnTo>
                                    <a:lnTo>
                                      <a:pt x="184" y="107"/>
                                    </a:lnTo>
                                    <a:lnTo>
                                      <a:pt x="185" y="107"/>
                                    </a:lnTo>
                                    <a:lnTo>
                                      <a:pt x="185" y="107"/>
                                    </a:lnTo>
                                    <a:lnTo>
                                      <a:pt x="186" y="107"/>
                                    </a:lnTo>
                                    <a:lnTo>
                                      <a:pt x="186" y="109"/>
                                    </a:lnTo>
                                    <a:lnTo>
                                      <a:pt x="186" y="111"/>
                                    </a:lnTo>
                                    <a:lnTo>
                                      <a:pt x="186" y="113"/>
                                    </a:lnTo>
                                    <a:lnTo>
                                      <a:pt x="186" y="115"/>
                                    </a:lnTo>
                                    <a:lnTo>
                                      <a:pt x="185" y="115"/>
                                    </a:lnTo>
                                    <a:lnTo>
                                      <a:pt x="184" y="116"/>
                                    </a:lnTo>
                                    <a:lnTo>
                                      <a:pt x="184" y="116"/>
                                    </a:lnTo>
                                    <a:lnTo>
                                      <a:pt x="183" y="116"/>
                                    </a:lnTo>
                                    <a:lnTo>
                                      <a:pt x="183" y="117"/>
                                    </a:lnTo>
                                    <a:lnTo>
                                      <a:pt x="183" y="117"/>
                                    </a:lnTo>
                                    <a:lnTo>
                                      <a:pt x="183" y="118"/>
                                    </a:lnTo>
                                    <a:lnTo>
                                      <a:pt x="182" y="119"/>
                                    </a:lnTo>
                                    <a:lnTo>
                                      <a:pt x="181" y="119"/>
                                    </a:lnTo>
                                    <a:lnTo>
                                      <a:pt x="180" y="119"/>
                                    </a:lnTo>
                                    <a:lnTo>
                                      <a:pt x="179" y="119"/>
                                    </a:lnTo>
                                    <a:lnTo>
                                      <a:pt x="179" y="119"/>
                                    </a:lnTo>
                                    <a:lnTo>
                                      <a:pt x="179" y="119"/>
                                    </a:lnTo>
                                    <a:lnTo>
                                      <a:pt x="178" y="119"/>
                                    </a:lnTo>
                                    <a:lnTo>
                                      <a:pt x="178" y="119"/>
                                    </a:lnTo>
                                    <a:lnTo>
                                      <a:pt x="178" y="119"/>
                                    </a:lnTo>
                                    <a:lnTo>
                                      <a:pt x="177" y="119"/>
                                    </a:lnTo>
                                    <a:lnTo>
                                      <a:pt x="177" y="119"/>
                                    </a:lnTo>
                                    <a:lnTo>
                                      <a:pt x="177" y="119"/>
                                    </a:lnTo>
                                    <a:lnTo>
                                      <a:pt x="177" y="120"/>
                                    </a:lnTo>
                                    <a:lnTo>
                                      <a:pt x="177" y="120"/>
                                    </a:lnTo>
                                    <a:lnTo>
                                      <a:pt x="177" y="121"/>
                                    </a:lnTo>
                                    <a:lnTo>
                                      <a:pt x="177" y="121"/>
                                    </a:lnTo>
                                    <a:lnTo>
                                      <a:pt x="176" y="122"/>
                                    </a:lnTo>
                                    <a:lnTo>
                                      <a:pt x="176" y="122"/>
                                    </a:lnTo>
                                    <a:lnTo>
                                      <a:pt x="175" y="123"/>
                                    </a:lnTo>
                                    <a:lnTo>
                                      <a:pt x="175" y="123"/>
                                    </a:lnTo>
                                    <a:lnTo>
                                      <a:pt x="174" y="124"/>
                                    </a:lnTo>
                                    <a:lnTo>
                                      <a:pt x="174" y="125"/>
                                    </a:lnTo>
                                    <a:lnTo>
                                      <a:pt x="174" y="125"/>
                                    </a:lnTo>
                                    <a:lnTo>
                                      <a:pt x="174" y="125"/>
                                    </a:lnTo>
                                    <a:lnTo>
                                      <a:pt x="173" y="125"/>
                                    </a:lnTo>
                                    <a:lnTo>
                                      <a:pt x="173" y="125"/>
                                    </a:lnTo>
                                    <a:lnTo>
                                      <a:pt x="173" y="125"/>
                                    </a:lnTo>
                                    <a:lnTo>
                                      <a:pt x="172" y="125"/>
                                    </a:lnTo>
                                    <a:lnTo>
                                      <a:pt x="172" y="125"/>
                                    </a:lnTo>
                                    <a:lnTo>
                                      <a:pt x="171" y="125"/>
                                    </a:lnTo>
                                    <a:lnTo>
                                      <a:pt x="171" y="125"/>
                                    </a:lnTo>
                                    <a:lnTo>
                                      <a:pt x="170" y="125"/>
                                    </a:lnTo>
                                    <a:lnTo>
                                      <a:pt x="170" y="124"/>
                                    </a:lnTo>
                                    <a:lnTo>
                                      <a:pt x="169" y="124"/>
                                    </a:lnTo>
                                    <a:lnTo>
                                      <a:pt x="169" y="124"/>
                                    </a:lnTo>
                                    <a:lnTo>
                                      <a:pt x="169" y="123"/>
                                    </a:lnTo>
                                    <a:lnTo>
                                      <a:pt x="169" y="123"/>
                                    </a:lnTo>
                                    <a:lnTo>
                                      <a:pt x="168" y="123"/>
                                    </a:lnTo>
                                    <a:lnTo>
                                      <a:pt x="168" y="122"/>
                                    </a:lnTo>
                                    <a:lnTo>
                                      <a:pt x="168" y="122"/>
                                    </a:lnTo>
                                    <a:lnTo>
                                      <a:pt x="167" y="122"/>
                                    </a:lnTo>
                                    <a:lnTo>
                                      <a:pt x="166" y="122"/>
                                    </a:lnTo>
                                    <a:lnTo>
                                      <a:pt x="165" y="122"/>
                                    </a:lnTo>
                                    <a:lnTo>
                                      <a:pt x="164" y="122"/>
                                    </a:lnTo>
                                    <a:lnTo>
                                      <a:pt x="163" y="122"/>
                                    </a:lnTo>
                                    <a:lnTo>
                                      <a:pt x="163" y="122"/>
                                    </a:lnTo>
                                    <a:lnTo>
                                      <a:pt x="163" y="122"/>
                                    </a:lnTo>
                                    <a:lnTo>
                                      <a:pt x="162" y="122"/>
                                    </a:lnTo>
                                    <a:lnTo>
                                      <a:pt x="162" y="122"/>
                                    </a:lnTo>
                                    <a:lnTo>
                                      <a:pt x="162" y="123"/>
                                    </a:lnTo>
                                    <a:lnTo>
                                      <a:pt x="162" y="123"/>
                                    </a:lnTo>
                                    <a:lnTo>
                                      <a:pt x="162" y="124"/>
                                    </a:lnTo>
                                    <a:lnTo>
                                      <a:pt x="161" y="124"/>
                                    </a:lnTo>
                                    <a:lnTo>
                                      <a:pt x="160" y="124"/>
                                    </a:lnTo>
                                    <a:lnTo>
                                      <a:pt x="160" y="124"/>
                                    </a:lnTo>
                                    <a:lnTo>
                                      <a:pt x="159" y="124"/>
                                    </a:lnTo>
                                    <a:lnTo>
                                      <a:pt x="158" y="123"/>
                                    </a:lnTo>
                                    <a:lnTo>
                                      <a:pt x="158" y="123"/>
                                    </a:lnTo>
                                    <a:lnTo>
                                      <a:pt x="158" y="124"/>
                                    </a:lnTo>
                                    <a:lnTo>
                                      <a:pt x="157" y="124"/>
                                    </a:lnTo>
                                    <a:lnTo>
                                      <a:pt x="157" y="124"/>
                                    </a:lnTo>
                                    <a:lnTo>
                                      <a:pt x="157" y="124"/>
                                    </a:lnTo>
                                    <a:lnTo>
                                      <a:pt x="157" y="125"/>
                                    </a:lnTo>
                                    <a:lnTo>
                                      <a:pt x="157" y="125"/>
                                    </a:lnTo>
                                    <a:lnTo>
                                      <a:pt x="156" y="125"/>
                                    </a:lnTo>
                                    <a:lnTo>
                                      <a:pt x="155" y="125"/>
                                    </a:lnTo>
                                    <a:lnTo>
                                      <a:pt x="155" y="125"/>
                                    </a:lnTo>
                                    <a:lnTo>
                                      <a:pt x="154" y="125"/>
                                    </a:lnTo>
                                    <a:lnTo>
                                      <a:pt x="154" y="125"/>
                                    </a:lnTo>
                                    <a:lnTo>
                                      <a:pt x="153" y="125"/>
                                    </a:lnTo>
                                    <a:lnTo>
                                      <a:pt x="152" y="125"/>
                                    </a:lnTo>
                                    <a:lnTo>
                                      <a:pt x="151" y="125"/>
                                    </a:lnTo>
                                    <a:lnTo>
                                      <a:pt x="151" y="125"/>
                                    </a:lnTo>
                                    <a:lnTo>
                                      <a:pt x="149" y="125"/>
                                    </a:lnTo>
                                    <a:lnTo>
                                      <a:pt x="148" y="126"/>
                                    </a:lnTo>
                                    <a:lnTo>
                                      <a:pt x="147" y="126"/>
                                    </a:lnTo>
                                    <a:lnTo>
                                      <a:pt x="146" y="125"/>
                                    </a:lnTo>
                                    <a:lnTo>
                                      <a:pt x="145" y="125"/>
                                    </a:lnTo>
                                    <a:lnTo>
                                      <a:pt x="144" y="125"/>
                                    </a:lnTo>
                                    <a:lnTo>
                                      <a:pt x="143" y="125"/>
                                    </a:lnTo>
                                    <a:lnTo>
                                      <a:pt x="142" y="124"/>
                                    </a:lnTo>
                                    <a:lnTo>
                                      <a:pt x="141" y="124"/>
                                    </a:lnTo>
                                    <a:lnTo>
                                      <a:pt x="139" y="123"/>
                                    </a:lnTo>
                                    <a:lnTo>
                                      <a:pt x="138" y="123"/>
                                    </a:lnTo>
                                    <a:lnTo>
                                      <a:pt x="137" y="122"/>
                                    </a:lnTo>
                                    <a:lnTo>
                                      <a:pt x="137" y="122"/>
                                    </a:lnTo>
                                    <a:lnTo>
                                      <a:pt x="136" y="122"/>
                                    </a:lnTo>
                                    <a:lnTo>
                                      <a:pt x="135" y="122"/>
                                    </a:lnTo>
                                    <a:lnTo>
                                      <a:pt x="135" y="122"/>
                                    </a:lnTo>
                                    <a:lnTo>
                                      <a:pt x="134" y="122"/>
                                    </a:lnTo>
                                    <a:lnTo>
                                      <a:pt x="134" y="122"/>
                                    </a:lnTo>
                                    <a:lnTo>
                                      <a:pt x="133" y="123"/>
                                    </a:lnTo>
                                    <a:lnTo>
                                      <a:pt x="133" y="124"/>
                                    </a:lnTo>
                                    <a:lnTo>
                                      <a:pt x="132" y="124"/>
                                    </a:lnTo>
                                    <a:lnTo>
                                      <a:pt x="132" y="125"/>
                                    </a:lnTo>
                                    <a:lnTo>
                                      <a:pt x="132" y="126"/>
                                    </a:lnTo>
                                    <a:lnTo>
                                      <a:pt x="132" y="127"/>
                                    </a:lnTo>
                                    <a:lnTo>
                                      <a:pt x="132" y="129"/>
                                    </a:lnTo>
                                    <a:lnTo>
                                      <a:pt x="132" y="130"/>
                                    </a:lnTo>
                                    <a:lnTo>
                                      <a:pt x="132" y="132"/>
                                    </a:lnTo>
                                    <a:lnTo>
                                      <a:pt x="132" y="134"/>
                                    </a:lnTo>
                                    <a:lnTo>
                                      <a:pt x="132" y="135"/>
                                    </a:lnTo>
                                    <a:lnTo>
                                      <a:pt x="132" y="136"/>
                                    </a:lnTo>
                                    <a:lnTo>
                                      <a:pt x="132" y="137"/>
                                    </a:lnTo>
                                    <a:lnTo>
                                      <a:pt x="132" y="137"/>
                                    </a:lnTo>
                                    <a:lnTo>
                                      <a:pt x="132" y="137"/>
                                    </a:lnTo>
                                    <a:lnTo>
                                      <a:pt x="131" y="137"/>
                                    </a:lnTo>
                                    <a:lnTo>
                                      <a:pt x="131" y="138"/>
                                    </a:lnTo>
                                    <a:lnTo>
                                      <a:pt x="131" y="138"/>
                                    </a:lnTo>
                                    <a:lnTo>
                                      <a:pt x="131" y="139"/>
                                    </a:lnTo>
                                    <a:lnTo>
                                      <a:pt x="131" y="139"/>
                                    </a:lnTo>
                                    <a:lnTo>
                                      <a:pt x="131" y="140"/>
                                    </a:lnTo>
                                    <a:lnTo>
                                      <a:pt x="131" y="140"/>
                                    </a:lnTo>
                                    <a:lnTo>
                                      <a:pt x="131" y="144"/>
                                    </a:lnTo>
                                    <a:lnTo>
                                      <a:pt x="131" y="149"/>
                                    </a:lnTo>
                                    <a:lnTo>
                                      <a:pt x="131" y="153"/>
                                    </a:lnTo>
                                    <a:lnTo>
                                      <a:pt x="131" y="157"/>
                                    </a:lnTo>
                                    <a:lnTo>
                                      <a:pt x="130" y="157"/>
                                    </a:lnTo>
                                    <a:lnTo>
                                      <a:pt x="130" y="157"/>
                                    </a:lnTo>
                                    <a:lnTo>
                                      <a:pt x="130" y="157"/>
                                    </a:lnTo>
                                    <a:lnTo>
                                      <a:pt x="129" y="158"/>
                                    </a:lnTo>
                                    <a:lnTo>
                                      <a:pt x="129" y="158"/>
                                    </a:lnTo>
                                    <a:lnTo>
                                      <a:pt x="129" y="159"/>
                                    </a:lnTo>
                                    <a:lnTo>
                                      <a:pt x="129" y="159"/>
                                    </a:lnTo>
                                    <a:lnTo>
                                      <a:pt x="129" y="160"/>
                                    </a:lnTo>
                                    <a:lnTo>
                                      <a:pt x="129" y="160"/>
                                    </a:lnTo>
                                    <a:lnTo>
                                      <a:pt x="129" y="162"/>
                                    </a:lnTo>
                                    <a:lnTo>
                                      <a:pt x="129" y="163"/>
                                    </a:lnTo>
                                    <a:lnTo>
                                      <a:pt x="129" y="166"/>
                                    </a:lnTo>
                                    <a:lnTo>
                                      <a:pt x="129" y="169"/>
                                    </a:lnTo>
                                    <a:lnTo>
                                      <a:pt x="129" y="170"/>
                                    </a:lnTo>
                                    <a:lnTo>
                                      <a:pt x="129" y="172"/>
                                    </a:lnTo>
                                    <a:lnTo>
                                      <a:pt x="128" y="172"/>
                                    </a:lnTo>
                                    <a:lnTo>
                                      <a:pt x="127" y="172"/>
                                    </a:lnTo>
                                    <a:lnTo>
                                      <a:pt x="126" y="171"/>
                                    </a:lnTo>
                                    <a:lnTo>
                                      <a:pt x="125" y="171"/>
                                    </a:lnTo>
                                    <a:lnTo>
                                      <a:pt x="125" y="170"/>
                                    </a:lnTo>
                                    <a:lnTo>
                                      <a:pt x="125" y="170"/>
                                    </a:lnTo>
                                    <a:lnTo>
                                      <a:pt x="124" y="169"/>
                                    </a:lnTo>
                                    <a:lnTo>
                                      <a:pt x="124" y="169"/>
                                    </a:lnTo>
                                    <a:lnTo>
                                      <a:pt x="124" y="168"/>
                                    </a:lnTo>
                                    <a:lnTo>
                                      <a:pt x="124" y="168"/>
                                    </a:lnTo>
                                    <a:lnTo>
                                      <a:pt x="124" y="167"/>
                                    </a:lnTo>
                                    <a:lnTo>
                                      <a:pt x="123" y="167"/>
                                    </a:lnTo>
                                    <a:lnTo>
                                      <a:pt x="123" y="167"/>
                                    </a:lnTo>
                                    <a:lnTo>
                                      <a:pt x="123" y="167"/>
                                    </a:lnTo>
                                    <a:lnTo>
                                      <a:pt x="122" y="167"/>
                                    </a:lnTo>
                                    <a:lnTo>
                                      <a:pt x="122" y="167"/>
                                    </a:lnTo>
                                    <a:lnTo>
                                      <a:pt x="120" y="164"/>
                                    </a:lnTo>
                                    <a:lnTo>
                                      <a:pt x="118" y="162"/>
                                    </a:lnTo>
                                    <a:lnTo>
                                      <a:pt x="116" y="159"/>
                                    </a:lnTo>
                                    <a:lnTo>
                                      <a:pt x="114" y="156"/>
                                    </a:lnTo>
                                    <a:lnTo>
                                      <a:pt x="112" y="153"/>
                                    </a:lnTo>
                                    <a:lnTo>
                                      <a:pt x="110" y="150"/>
                                    </a:lnTo>
                                    <a:lnTo>
                                      <a:pt x="109" y="148"/>
                                    </a:lnTo>
                                    <a:lnTo>
                                      <a:pt x="109" y="147"/>
                                    </a:lnTo>
                                    <a:lnTo>
                                      <a:pt x="108" y="145"/>
                                    </a:lnTo>
                                    <a:lnTo>
                                      <a:pt x="107" y="144"/>
                                    </a:lnTo>
                                    <a:lnTo>
                                      <a:pt x="106" y="144"/>
                                    </a:lnTo>
                                    <a:lnTo>
                                      <a:pt x="105" y="144"/>
                                    </a:lnTo>
                                    <a:lnTo>
                                      <a:pt x="104" y="145"/>
                                    </a:lnTo>
                                    <a:lnTo>
                                      <a:pt x="103" y="145"/>
                                    </a:lnTo>
                                    <a:lnTo>
                                      <a:pt x="102" y="145"/>
                                    </a:lnTo>
                                    <a:lnTo>
                                      <a:pt x="101" y="145"/>
                                    </a:lnTo>
                                    <a:lnTo>
                                      <a:pt x="100" y="146"/>
                                    </a:lnTo>
                                    <a:lnTo>
                                      <a:pt x="99" y="146"/>
                                    </a:lnTo>
                                    <a:lnTo>
                                      <a:pt x="97" y="146"/>
                                    </a:lnTo>
                                    <a:lnTo>
                                      <a:pt x="95" y="146"/>
                                    </a:lnTo>
                                    <a:lnTo>
                                      <a:pt x="93" y="146"/>
                                    </a:lnTo>
                                    <a:lnTo>
                                      <a:pt x="90" y="145"/>
                                    </a:lnTo>
                                    <a:lnTo>
                                      <a:pt x="88" y="145"/>
                                    </a:lnTo>
                                    <a:lnTo>
                                      <a:pt x="86" y="144"/>
                                    </a:lnTo>
                                    <a:lnTo>
                                      <a:pt x="84" y="144"/>
                                    </a:lnTo>
                                    <a:lnTo>
                                      <a:pt x="82" y="143"/>
                                    </a:lnTo>
                                    <a:lnTo>
                                      <a:pt x="80" y="143"/>
                                    </a:lnTo>
                                    <a:lnTo>
                                      <a:pt x="78" y="142"/>
                                    </a:lnTo>
                                    <a:lnTo>
                                      <a:pt x="74" y="140"/>
                                    </a:lnTo>
                                    <a:lnTo>
                                      <a:pt x="73" y="140"/>
                                    </a:lnTo>
                                    <a:lnTo>
                                      <a:pt x="72" y="140"/>
                                    </a:lnTo>
                                    <a:lnTo>
                                      <a:pt x="71" y="140"/>
                                    </a:lnTo>
                                    <a:lnTo>
                                      <a:pt x="71" y="140"/>
                                    </a:lnTo>
                                    <a:lnTo>
                                      <a:pt x="71" y="140"/>
                                    </a:lnTo>
                                    <a:lnTo>
                                      <a:pt x="70" y="140"/>
                                    </a:lnTo>
                                    <a:lnTo>
                                      <a:pt x="70" y="140"/>
                                    </a:lnTo>
                                    <a:lnTo>
                                      <a:pt x="69" y="140"/>
                                    </a:lnTo>
                                    <a:lnTo>
                                      <a:pt x="69" y="140"/>
                                    </a:lnTo>
                                    <a:lnTo>
                                      <a:pt x="69" y="141"/>
                                    </a:lnTo>
                                    <a:lnTo>
                                      <a:pt x="69" y="141"/>
                                    </a:lnTo>
                                    <a:lnTo>
                                      <a:pt x="69" y="141"/>
                                    </a:lnTo>
                                    <a:lnTo>
                                      <a:pt x="69" y="142"/>
                                    </a:lnTo>
                                    <a:lnTo>
                                      <a:pt x="68" y="142"/>
                                    </a:lnTo>
                                    <a:lnTo>
                                      <a:pt x="67" y="142"/>
                                    </a:lnTo>
                                    <a:lnTo>
                                      <a:pt x="67" y="142"/>
                                    </a:lnTo>
                                    <a:lnTo>
                                      <a:pt x="66" y="142"/>
                                    </a:lnTo>
                                    <a:lnTo>
                                      <a:pt x="65" y="142"/>
                                    </a:lnTo>
                                    <a:lnTo>
                                      <a:pt x="65" y="142"/>
                                    </a:lnTo>
                                    <a:lnTo>
                                      <a:pt x="65" y="142"/>
                                    </a:lnTo>
                                    <a:lnTo>
                                      <a:pt x="64" y="143"/>
                                    </a:lnTo>
                                    <a:lnTo>
                                      <a:pt x="64" y="143"/>
                                    </a:lnTo>
                                    <a:lnTo>
                                      <a:pt x="63" y="143"/>
                                    </a:lnTo>
                                    <a:lnTo>
                                      <a:pt x="63" y="143"/>
                                    </a:lnTo>
                                    <a:lnTo>
                                      <a:pt x="62" y="144"/>
                                    </a:lnTo>
                                    <a:lnTo>
                                      <a:pt x="62" y="144"/>
                                    </a:lnTo>
                                    <a:lnTo>
                                      <a:pt x="61" y="144"/>
                                    </a:lnTo>
                                    <a:lnTo>
                                      <a:pt x="61" y="144"/>
                                    </a:lnTo>
                                    <a:lnTo>
                                      <a:pt x="58" y="143"/>
                                    </a:lnTo>
                                    <a:lnTo>
                                      <a:pt x="55" y="142"/>
                                    </a:lnTo>
                                    <a:lnTo>
                                      <a:pt x="53" y="141"/>
                                    </a:lnTo>
                                    <a:lnTo>
                                      <a:pt x="50" y="140"/>
                                    </a:lnTo>
                                    <a:lnTo>
                                      <a:pt x="47" y="140"/>
                                    </a:lnTo>
                                    <a:lnTo>
                                      <a:pt x="44" y="139"/>
                                    </a:lnTo>
                                    <a:lnTo>
                                      <a:pt x="42" y="138"/>
                                    </a:lnTo>
                                    <a:lnTo>
                                      <a:pt x="40" y="138"/>
                                    </a:lnTo>
                                    <a:lnTo>
                                      <a:pt x="39" y="138"/>
                                    </a:lnTo>
                                    <a:lnTo>
                                      <a:pt x="37" y="138"/>
                                    </a:lnTo>
                                    <a:lnTo>
                                      <a:pt x="36" y="138"/>
                                    </a:lnTo>
                                    <a:lnTo>
                                      <a:pt x="35" y="138"/>
                                    </a:lnTo>
                                    <a:lnTo>
                                      <a:pt x="33" y="138"/>
                                    </a:lnTo>
                                    <a:lnTo>
                                      <a:pt x="32" y="138"/>
                                    </a:lnTo>
                                    <a:lnTo>
                                      <a:pt x="31" y="138"/>
                                    </a:lnTo>
                                    <a:lnTo>
                                      <a:pt x="29" y="138"/>
                                    </a:lnTo>
                                    <a:lnTo>
                                      <a:pt x="28" y="139"/>
                                    </a:lnTo>
                                    <a:lnTo>
                                      <a:pt x="27" y="139"/>
                                    </a:lnTo>
                                    <a:lnTo>
                                      <a:pt x="26" y="139"/>
                                    </a:lnTo>
                                    <a:lnTo>
                                      <a:pt x="25" y="140"/>
                                    </a:lnTo>
                                    <a:lnTo>
                                      <a:pt x="23" y="140"/>
                                    </a:lnTo>
                                    <a:lnTo>
                                      <a:pt x="22" y="141"/>
                                    </a:lnTo>
                                    <a:lnTo>
                                      <a:pt x="21" y="142"/>
                                    </a:lnTo>
                                    <a:lnTo>
                                      <a:pt x="20" y="143"/>
                                    </a:lnTo>
                                    <a:lnTo>
                                      <a:pt x="19" y="144"/>
                                    </a:lnTo>
                                    <a:lnTo>
                                      <a:pt x="18" y="143"/>
                                    </a:lnTo>
                                    <a:lnTo>
                                      <a:pt x="18" y="143"/>
                                    </a:lnTo>
                                    <a:lnTo>
                                      <a:pt x="17" y="143"/>
                                    </a:lnTo>
                                    <a:lnTo>
                                      <a:pt x="16" y="143"/>
                                    </a:lnTo>
                                    <a:lnTo>
                                      <a:pt x="15" y="143"/>
                                    </a:lnTo>
                                    <a:lnTo>
                                      <a:pt x="14" y="143"/>
                                    </a:lnTo>
                                    <a:lnTo>
                                      <a:pt x="14" y="144"/>
                                    </a:lnTo>
                                    <a:lnTo>
                                      <a:pt x="13" y="144"/>
                                    </a:lnTo>
                                    <a:lnTo>
                                      <a:pt x="12" y="144"/>
                                    </a:lnTo>
                                    <a:lnTo>
                                      <a:pt x="11" y="145"/>
                                    </a:lnTo>
                                    <a:lnTo>
                                      <a:pt x="11" y="146"/>
                                    </a:lnTo>
                                    <a:lnTo>
                                      <a:pt x="10" y="146"/>
                                    </a:lnTo>
                                    <a:lnTo>
                                      <a:pt x="10" y="146"/>
                                    </a:lnTo>
                                    <a:lnTo>
                                      <a:pt x="9" y="147"/>
                                    </a:lnTo>
                                    <a:lnTo>
                                      <a:pt x="8" y="147"/>
                                    </a:lnTo>
                                    <a:lnTo>
                                      <a:pt x="7" y="147"/>
                                    </a:lnTo>
                                    <a:lnTo>
                                      <a:pt x="7" y="137"/>
                                    </a:lnTo>
                                    <a:lnTo>
                                      <a:pt x="7" y="127"/>
                                    </a:lnTo>
                                    <a:lnTo>
                                      <a:pt x="8" y="127"/>
                                    </a:lnTo>
                                    <a:lnTo>
                                      <a:pt x="8" y="127"/>
                                    </a:lnTo>
                                    <a:lnTo>
                                      <a:pt x="8" y="127"/>
                                    </a:lnTo>
                                    <a:lnTo>
                                      <a:pt x="9" y="126"/>
                                    </a:lnTo>
                                    <a:lnTo>
                                      <a:pt x="9" y="126"/>
                                    </a:lnTo>
                                    <a:lnTo>
                                      <a:pt x="9" y="126"/>
                                    </a:lnTo>
                                    <a:lnTo>
                                      <a:pt x="9" y="126"/>
                                    </a:lnTo>
                                    <a:lnTo>
                                      <a:pt x="9" y="125"/>
                                    </a:lnTo>
                                    <a:lnTo>
                                      <a:pt x="10" y="125"/>
                                    </a:lnTo>
                                    <a:lnTo>
                                      <a:pt x="11" y="125"/>
                                    </a:lnTo>
                                    <a:lnTo>
                                      <a:pt x="12" y="125"/>
                                    </a:lnTo>
                                    <a:lnTo>
                                      <a:pt x="12" y="124"/>
                                    </a:lnTo>
                                    <a:lnTo>
                                      <a:pt x="13" y="124"/>
                                    </a:lnTo>
                                    <a:lnTo>
                                      <a:pt x="13" y="123"/>
                                    </a:lnTo>
                                    <a:lnTo>
                                      <a:pt x="14" y="123"/>
                                    </a:lnTo>
                                    <a:lnTo>
                                      <a:pt x="14" y="122"/>
                                    </a:lnTo>
                                    <a:lnTo>
                                      <a:pt x="14" y="121"/>
                                    </a:lnTo>
                                    <a:lnTo>
                                      <a:pt x="14" y="120"/>
                                    </a:lnTo>
                                    <a:lnTo>
                                      <a:pt x="13" y="119"/>
                                    </a:lnTo>
                                    <a:lnTo>
                                      <a:pt x="13" y="118"/>
                                    </a:lnTo>
                                    <a:lnTo>
                                      <a:pt x="12" y="117"/>
                                    </a:lnTo>
                                    <a:lnTo>
                                      <a:pt x="11" y="117"/>
                                    </a:lnTo>
                                    <a:lnTo>
                                      <a:pt x="11" y="116"/>
                                    </a:lnTo>
                                    <a:lnTo>
                                      <a:pt x="10" y="115"/>
                                    </a:lnTo>
                                    <a:lnTo>
                                      <a:pt x="9" y="114"/>
                                    </a:lnTo>
                                    <a:lnTo>
                                      <a:pt x="8" y="114"/>
                                    </a:lnTo>
                                    <a:lnTo>
                                      <a:pt x="8" y="113"/>
                                    </a:lnTo>
                                    <a:lnTo>
                                      <a:pt x="7" y="113"/>
                                    </a:lnTo>
                                    <a:lnTo>
                                      <a:pt x="6" y="112"/>
                                    </a:lnTo>
                                    <a:lnTo>
                                      <a:pt x="6" y="111"/>
                                    </a:lnTo>
                                    <a:lnTo>
                                      <a:pt x="6" y="110"/>
                                    </a:lnTo>
                                    <a:lnTo>
                                      <a:pt x="6" y="109"/>
                                    </a:lnTo>
                                    <a:lnTo>
                                      <a:pt x="6" y="109"/>
                                    </a:lnTo>
                                    <a:lnTo>
                                      <a:pt x="6" y="108"/>
                                    </a:lnTo>
                                    <a:lnTo>
                                      <a:pt x="6" y="107"/>
                                    </a:lnTo>
                                    <a:lnTo>
                                      <a:pt x="7" y="107"/>
                                    </a:lnTo>
                                    <a:lnTo>
                                      <a:pt x="7" y="106"/>
                                    </a:lnTo>
                                    <a:lnTo>
                                      <a:pt x="8" y="105"/>
                                    </a:lnTo>
                                    <a:lnTo>
                                      <a:pt x="8" y="105"/>
                                    </a:lnTo>
                                    <a:lnTo>
                                      <a:pt x="8" y="104"/>
                                    </a:lnTo>
                                    <a:lnTo>
                                      <a:pt x="9" y="103"/>
                                    </a:lnTo>
                                    <a:lnTo>
                                      <a:pt x="9" y="103"/>
                                    </a:lnTo>
                                    <a:lnTo>
                                      <a:pt x="9" y="102"/>
                                    </a:lnTo>
                                    <a:lnTo>
                                      <a:pt x="9" y="101"/>
                                    </a:lnTo>
                                    <a:lnTo>
                                      <a:pt x="9" y="100"/>
                                    </a:lnTo>
                                    <a:lnTo>
                                      <a:pt x="9" y="99"/>
                                    </a:lnTo>
                                    <a:lnTo>
                                      <a:pt x="9" y="99"/>
                                    </a:lnTo>
                                    <a:lnTo>
                                      <a:pt x="9" y="99"/>
                                    </a:lnTo>
                                    <a:lnTo>
                                      <a:pt x="9" y="98"/>
                                    </a:lnTo>
                                    <a:lnTo>
                                      <a:pt x="10" y="98"/>
                                    </a:lnTo>
                                    <a:lnTo>
                                      <a:pt x="10" y="98"/>
                                    </a:lnTo>
                                    <a:lnTo>
                                      <a:pt x="10" y="98"/>
                                    </a:lnTo>
                                    <a:lnTo>
                                      <a:pt x="10" y="98"/>
                                    </a:lnTo>
                                    <a:lnTo>
                                      <a:pt x="10" y="98"/>
                                    </a:lnTo>
                                    <a:lnTo>
                                      <a:pt x="10" y="97"/>
                                    </a:lnTo>
                                    <a:lnTo>
                                      <a:pt x="9" y="97"/>
                                    </a:lnTo>
                                    <a:lnTo>
                                      <a:pt x="9" y="97"/>
                                    </a:lnTo>
                                    <a:lnTo>
                                      <a:pt x="9" y="97"/>
                                    </a:lnTo>
                                    <a:lnTo>
                                      <a:pt x="8" y="96"/>
                                    </a:lnTo>
                                    <a:lnTo>
                                      <a:pt x="8" y="95"/>
                                    </a:lnTo>
                                    <a:lnTo>
                                      <a:pt x="8" y="94"/>
                                    </a:lnTo>
                                    <a:lnTo>
                                      <a:pt x="7" y="93"/>
                                    </a:lnTo>
                                    <a:lnTo>
                                      <a:pt x="7" y="92"/>
                                    </a:lnTo>
                                    <a:lnTo>
                                      <a:pt x="7" y="91"/>
                                    </a:lnTo>
                                    <a:lnTo>
                                      <a:pt x="6" y="90"/>
                                    </a:lnTo>
                                    <a:lnTo>
                                      <a:pt x="6" y="90"/>
                                    </a:lnTo>
                                    <a:lnTo>
                                      <a:pt x="6" y="88"/>
                                    </a:lnTo>
                                    <a:lnTo>
                                      <a:pt x="6" y="86"/>
                                    </a:lnTo>
                                    <a:lnTo>
                                      <a:pt x="6" y="84"/>
                                    </a:lnTo>
                                    <a:lnTo>
                                      <a:pt x="6" y="82"/>
                                    </a:lnTo>
                                    <a:lnTo>
                                      <a:pt x="6" y="80"/>
                                    </a:lnTo>
                                    <a:lnTo>
                                      <a:pt x="6" y="78"/>
                                    </a:lnTo>
                                    <a:lnTo>
                                      <a:pt x="6" y="77"/>
                                    </a:lnTo>
                                    <a:lnTo>
                                      <a:pt x="6" y="76"/>
                                    </a:lnTo>
                                    <a:lnTo>
                                      <a:pt x="5" y="75"/>
                                    </a:lnTo>
                                    <a:lnTo>
                                      <a:pt x="5" y="74"/>
                                    </a:lnTo>
                                    <a:lnTo>
                                      <a:pt x="5" y="74"/>
                                    </a:lnTo>
                                    <a:lnTo>
                                      <a:pt x="4" y="73"/>
                                    </a:lnTo>
                                    <a:lnTo>
                                      <a:pt x="4" y="72"/>
                                    </a:lnTo>
                                    <a:lnTo>
                                      <a:pt x="4" y="71"/>
                                    </a:lnTo>
                                    <a:lnTo>
                                      <a:pt x="3" y="71"/>
                                    </a:lnTo>
                                    <a:lnTo>
                                      <a:pt x="2" y="70"/>
                                    </a:lnTo>
                                    <a:lnTo>
                                      <a:pt x="1" y="69"/>
                                    </a:lnTo>
                                    <a:lnTo>
                                      <a:pt x="1" y="69"/>
                                    </a:lnTo>
                                    <a:lnTo>
                                      <a:pt x="0" y="68"/>
                                    </a:lnTo>
                                    <a:lnTo>
                                      <a:pt x="0" y="67"/>
                                    </a:lnTo>
                                    <a:lnTo>
                                      <a:pt x="0" y="67"/>
                                    </a:lnTo>
                                    <a:lnTo>
                                      <a:pt x="0" y="66"/>
                                    </a:lnTo>
                                    <a:lnTo>
                                      <a:pt x="0" y="66"/>
                                    </a:lnTo>
                                    <a:lnTo>
                                      <a:pt x="0" y="65"/>
                                    </a:lnTo>
                                    <a:lnTo>
                                      <a:pt x="0" y="65"/>
                                    </a:lnTo>
                                    <a:lnTo>
                                      <a:pt x="1" y="65"/>
                                    </a:lnTo>
                                    <a:lnTo>
                                      <a:pt x="1" y="64"/>
                                    </a:lnTo>
                                    <a:lnTo>
                                      <a:pt x="2" y="64"/>
                                    </a:lnTo>
                                    <a:lnTo>
                                      <a:pt x="2" y="63"/>
                                    </a:lnTo>
                                    <a:lnTo>
                                      <a:pt x="3" y="63"/>
                                    </a:lnTo>
                                    <a:lnTo>
                                      <a:pt x="4" y="62"/>
                                    </a:lnTo>
                                    <a:lnTo>
                                      <a:pt x="4" y="62"/>
                                    </a:lnTo>
                                    <a:lnTo>
                                      <a:pt x="4" y="61"/>
                                    </a:lnTo>
                                    <a:lnTo>
                                      <a:pt x="5" y="61"/>
                                    </a:lnTo>
                                    <a:lnTo>
                                      <a:pt x="5" y="59"/>
                                    </a:lnTo>
                                    <a:lnTo>
                                      <a:pt x="6" y="58"/>
                                    </a:lnTo>
                                    <a:lnTo>
                                      <a:pt x="7" y="56"/>
                                    </a:lnTo>
                                    <a:lnTo>
                                      <a:pt x="7" y="55"/>
                                    </a:lnTo>
                                    <a:lnTo>
                                      <a:pt x="8" y="55"/>
                                    </a:lnTo>
                                    <a:lnTo>
                                      <a:pt x="8" y="54"/>
                                    </a:lnTo>
                                    <a:lnTo>
                                      <a:pt x="9" y="54"/>
                                    </a:lnTo>
                                    <a:lnTo>
                                      <a:pt x="9" y="53"/>
                                    </a:lnTo>
                                    <a:lnTo>
                                      <a:pt x="10" y="52"/>
                                    </a:lnTo>
                                    <a:lnTo>
                                      <a:pt x="11" y="52"/>
                                    </a:lnTo>
                                  </a:path>
                                </a:pathLst>
                              </a:custGeom>
                              <a:solidFill>
                                <a:schemeClr val="accent1">
                                  <a:lumMod val="75000"/>
                                </a:schemeClr>
                              </a:solidFill>
                              <a:ln w="9525">
                                <a:noFill/>
                              </a:ln>
                            </p:spPr>
                            <p:style>
                              <a:lnRef idx="2">
                                <a:schemeClr val="accent1">
                                  <a:shade val="50000"/>
                                </a:schemeClr>
                              </a:lnRef>
                              <a:fillRef idx="1">
                                <a:schemeClr val="accent1"/>
                              </a:fillRef>
                              <a:effectRef idx="0">
                                <a:schemeClr val="accent1"/>
                              </a:effectRef>
                              <a:fontRef idx="minor">
                                <a:schemeClr val="lt1"/>
                              </a:fontRef>
                            </p:style>
                            <p:txBody>
                              <a:bodyPr lIns="104000" tIns="104000" rIns="104000" bIns="104000" anchor="ctr"/>
                              <a:lstStyle/>
                              <a:p>
                                <a:pPr algn="ctr" defTabSz="457200">
                                  <a:lnSpc>
                                    <a:spcPct val="90000"/>
                                  </a:lnSpc>
                                  <a:buClr>
                                    <a:srgbClr val="0563C1"/>
                                  </a:buClr>
                                  <a:buSzPct val="110000"/>
                                  <a:defRPr/>
                                </a:pPr>
                                <a:endParaRPr lang="en-US" sz="900" dirty="0">
                                  <a:solidFill>
                                    <a:prstClr val="white"/>
                                  </a:solidFill>
                                </a:endParaRPr>
                              </a:p>
                            </p:txBody>
                          </p:sp>
                          <p:sp>
                            <p:nvSpPr>
                              <p:cNvPr id="137" name="Freeform 7"/>
                              <p:cNvSpPr>
                                <a:spLocks/>
                              </p:cNvSpPr>
                              <p:nvPr/>
                            </p:nvSpPr>
                            <p:spPr bwMode="auto">
                              <a:xfrm>
                                <a:off x="1719447" y="2605272"/>
                                <a:ext cx="2145801" cy="1959875"/>
                              </a:xfrm>
                              <a:custGeom>
                                <a:avLst/>
                                <a:gdLst/>
                                <a:ahLst/>
                                <a:cxnLst>
                                  <a:cxn ang="0">
                                    <a:pos x="29" y="12"/>
                                  </a:cxn>
                                  <a:cxn ang="0">
                                    <a:pos x="28" y="0"/>
                                  </a:cxn>
                                  <a:cxn ang="0">
                                    <a:pos x="38" y="4"/>
                                  </a:cxn>
                                  <a:cxn ang="0">
                                    <a:pos x="48" y="16"/>
                                  </a:cxn>
                                  <a:cxn ang="0">
                                    <a:pos x="58" y="12"/>
                                  </a:cxn>
                                  <a:cxn ang="0">
                                    <a:pos x="65" y="7"/>
                                  </a:cxn>
                                  <a:cxn ang="0">
                                    <a:pos x="71" y="3"/>
                                  </a:cxn>
                                  <a:cxn ang="0">
                                    <a:pos x="75" y="5"/>
                                  </a:cxn>
                                  <a:cxn ang="0">
                                    <a:pos x="81" y="7"/>
                                  </a:cxn>
                                  <a:cxn ang="0">
                                    <a:pos x="87" y="11"/>
                                  </a:cxn>
                                  <a:cxn ang="0">
                                    <a:pos x="98" y="6"/>
                                  </a:cxn>
                                  <a:cxn ang="0">
                                    <a:pos x="109" y="18"/>
                                  </a:cxn>
                                  <a:cxn ang="0">
                                    <a:pos x="119" y="23"/>
                                  </a:cxn>
                                  <a:cxn ang="0">
                                    <a:pos x="130" y="27"/>
                                  </a:cxn>
                                  <a:cxn ang="0">
                                    <a:pos x="134" y="19"/>
                                  </a:cxn>
                                  <a:cxn ang="0">
                                    <a:pos x="138" y="22"/>
                                  </a:cxn>
                                  <a:cxn ang="0">
                                    <a:pos x="153" y="23"/>
                                  </a:cxn>
                                  <a:cxn ang="0">
                                    <a:pos x="165" y="16"/>
                                  </a:cxn>
                                  <a:cxn ang="0">
                                    <a:pos x="173" y="3"/>
                                  </a:cxn>
                                  <a:cxn ang="0">
                                    <a:pos x="187" y="25"/>
                                  </a:cxn>
                                  <a:cxn ang="0">
                                    <a:pos x="194" y="49"/>
                                  </a:cxn>
                                  <a:cxn ang="0">
                                    <a:pos x="189" y="60"/>
                                  </a:cxn>
                                  <a:cxn ang="0">
                                    <a:pos x="183" y="65"/>
                                  </a:cxn>
                                  <a:cxn ang="0">
                                    <a:pos x="181" y="75"/>
                                  </a:cxn>
                                  <a:cxn ang="0">
                                    <a:pos x="186" y="79"/>
                                  </a:cxn>
                                  <a:cxn ang="0">
                                    <a:pos x="192" y="80"/>
                                  </a:cxn>
                                  <a:cxn ang="0">
                                    <a:pos x="198" y="89"/>
                                  </a:cxn>
                                  <a:cxn ang="0">
                                    <a:pos x="210" y="100"/>
                                  </a:cxn>
                                  <a:cxn ang="0">
                                    <a:pos x="213" y="105"/>
                                  </a:cxn>
                                  <a:cxn ang="0">
                                    <a:pos x="215" y="113"/>
                                  </a:cxn>
                                  <a:cxn ang="0">
                                    <a:pos x="213" y="123"/>
                                  </a:cxn>
                                  <a:cxn ang="0">
                                    <a:pos x="196" y="134"/>
                                  </a:cxn>
                                  <a:cxn ang="0">
                                    <a:pos x="188" y="141"/>
                                  </a:cxn>
                                  <a:cxn ang="0">
                                    <a:pos x="179" y="135"/>
                                  </a:cxn>
                                  <a:cxn ang="0">
                                    <a:pos x="167" y="120"/>
                                  </a:cxn>
                                  <a:cxn ang="0">
                                    <a:pos x="155" y="117"/>
                                  </a:cxn>
                                  <a:cxn ang="0">
                                    <a:pos x="146" y="131"/>
                                  </a:cxn>
                                  <a:cxn ang="0">
                                    <a:pos x="139" y="136"/>
                                  </a:cxn>
                                  <a:cxn ang="0">
                                    <a:pos x="132" y="137"/>
                                  </a:cxn>
                                  <a:cxn ang="0">
                                    <a:pos x="116" y="151"/>
                                  </a:cxn>
                                  <a:cxn ang="0">
                                    <a:pos x="105" y="163"/>
                                  </a:cxn>
                                  <a:cxn ang="0">
                                    <a:pos x="94" y="170"/>
                                  </a:cxn>
                                  <a:cxn ang="0">
                                    <a:pos x="89" y="176"/>
                                  </a:cxn>
                                  <a:cxn ang="0">
                                    <a:pos x="63" y="180"/>
                                  </a:cxn>
                                  <a:cxn ang="0">
                                    <a:pos x="43" y="178"/>
                                  </a:cxn>
                                  <a:cxn ang="0">
                                    <a:pos x="43" y="158"/>
                                  </a:cxn>
                                  <a:cxn ang="0">
                                    <a:pos x="45" y="147"/>
                                  </a:cxn>
                                  <a:cxn ang="0">
                                    <a:pos x="36" y="135"/>
                                  </a:cxn>
                                  <a:cxn ang="0">
                                    <a:pos x="23" y="123"/>
                                  </a:cxn>
                                  <a:cxn ang="0">
                                    <a:pos x="24" y="104"/>
                                  </a:cxn>
                                  <a:cxn ang="0">
                                    <a:pos x="29" y="97"/>
                                  </a:cxn>
                                  <a:cxn ang="0">
                                    <a:pos x="25" y="91"/>
                                  </a:cxn>
                                  <a:cxn ang="0">
                                    <a:pos x="25" y="79"/>
                                  </a:cxn>
                                  <a:cxn ang="0">
                                    <a:pos x="26" y="67"/>
                                  </a:cxn>
                                  <a:cxn ang="0">
                                    <a:pos x="16" y="65"/>
                                  </a:cxn>
                                  <a:cxn ang="0">
                                    <a:pos x="10" y="60"/>
                                  </a:cxn>
                                  <a:cxn ang="0">
                                    <a:pos x="2" y="52"/>
                                  </a:cxn>
                                  <a:cxn ang="0">
                                    <a:pos x="1" y="46"/>
                                  </a:cxn>
                                  <a:cxn ang="0">
                                    <a:pos x="10" y="38"/>
                                  </a:cxn>
                                  <a:cxn ang="0">
                                    <a:pos x="25" y="27"/>
                                  </a:cxn>
                                  <a:cxn ang="0">
                                    <a:pos x="24" y="18"/>
                                  </a:cxn>
                                </a:cxnLst>
                                <a:rect l="0" t="0" r="r" b="b"/>
                                <a:pathLst>
                                  <a:path w="216" h="183">
                                    <a:moveTo>
                                      <a:pt x="25" y="16"/>
                                    </a:moveTo>
                                    <a:lnTo>
                                      <a:pt x="26" y="16"/>
                                    </a:lnTo>
                                    <a:lnTo>
                                      <a:pt x="26" y="16"/>
                                    </a:lnTo>
                                    <a:lnTo>
                                      <a:pt x="27" y="16"/>
                                    </a:lnTo>
                                    <a:lnTo>
                                      <a:pt x="27" y="16"/>
                                    </a:lnTo>
                                    <a:lnTo>
                                      <a:pt x="27" y="15"/>
                                    </a:lnTo>
                                    <a:lnTo>
                                      <a:pt x="28" y="15"/>
                                    </a:lnTo>
                                    <a:lnTo>
                                      <a:pt x="29" y="14"/>
                                    </a:lnTo>
                                    <a:lnTo>
                                      <a:pt x="29" y="13"/>
                                    </a:lnTo>
                                    <a:lnTo>
                                      <a:pt x="29" y="12"/>
                                    </a:lnTo>
                                    <a:lnTo>
                                      <a:pt x="30" y="11"/>
                                    </a:lnTo>
                                    <a:lnTo>
                                      <a:pt x="30" y="10"/>
                                    </a:lnTo>
                                    <a:lnTo>
                                      <a:pt x="30" y="8"/>
                                    </a:lnTo>
                                    <a:lnTo>
                                      <a:pt x="30" y="7"/>
                                    </a:lnTo>
                                    <a:lnTo>
                                      <a:pt x="30" y="6"/>
                                    </a:lnTo>
                                    <a:lnTo>
                                      <a:pt x="30" y="4"/>
                                    </a:lnTo>
                                    <a:lnTo>
                                      <a:pt x="29" y="3"/>
                                    </a:lnTo>
                                    <a:lnTo>
                                      <a:pt x="29" y="2"/>
                                    </a:lnTo>
                                    <a:lnTo>
                                      <a:pt x="29" y="1"/>
                                    </a:lnTo>
                                    <a:lnTo>
                                      <a:pt x="28" y="0"/>
                                    </a:lnTo>
                                    <a:lnTo>
                                      <a:pt x="29" y="0"/>
                                    </a:lnTo>
                                    <a:lnTo>
                                      <a:pt x="30" y="0"/>
                                    </a:lnTo>
                                    <a:lnTo>
                                      <a:pt x="31" y="0"/>
                                    </a:lnTo>
                                    <a:lnTo>
                                      <a:pt x="32" y="0"/>
                                    </a:lnTo>
                                    <a:lnTo>
                                      <a:pt x="33" y="1"/>
                                    </a:lnTo>
                                    <a:lnTo>
                                      <a:pt x="34" y="1"/>
                                    </a:lnTo>
                                    <a:lnTo>
                                      <a:pt x="34" y="2"/>
                                    </a:lnTo>
                                    <a:lnTo>
                                      <a:pt x="35" y="2"/>
                                    </a:lnTo>
                                    <a:lnTo>
                                      <a:pt x="36" y="3"/>
                                    </a:lnTo>
                                    <a:lnTo>
                                      <a:pt x="38" y="4"/>
                                    </a:lnTo>
                                    <a:lnTo>
                                      <a:pt x="39" y="5"/>
                                    </a:lnTo>
                                    <a:lnTo>
                                      <a:pt x="39" y="7"/>
                                    </a:lnTo>
                                    <a:lnTo>
                                      <a:pt x="41" y="9"/>
                                    </a:lnTo>
                                    <a:lnTo>
                                      <a:pt x="42" y="11"/>
                                    </a:lnTo>
                                    <a:lnTo>
                                      <a:pt x="43" y="12"/>
                                    </a:lnTo>
                                    <a:lnTo>
                                      <a:pt x="44" y="14"/>
                                    </a:lnTo>
                                    <a:lnTo>
                                      <a:pt x="46" y="15"/>
                                    </a:lnTo>
                                    <a:lnTo>
                                      <a:pt x="46" y="15"/>
                                    </a:lnTo>
                                    <a:lnTo>
                                      <a:pt x="47" y="16"/>
                                    </a:lnTo>
                                    <a:lnTo>
                                      <a:pt x="48" y="16"/>
                                    </a:lnTo>
                                    <a:lnTo>
                                      <a:pt x="48" y="16"/>
                                    </a:lnTo>
                                    <a:lnTo>
                                      <a:pt x="50" y="16"/>
                                    </a:lnTo>
                                    <a:lnTo>
                                      <a:pt x="52" y="15"/>
                                    </a:lnTo>
                                    <a:lnTo>
                                      <a:pt x="54" y="14"/>
                                    </a:lnTo>
                                    <a:lnTo>
                                      <a:pt x="55" y="14"/>
                                    </a:lnTo>
                                    <a:lnTo>
                                      <a:pt x="56" y="14"/>
                                    </a:lnTo>
                                    <a:lnTo>
                                      <a:pt x="56" y="13"/>
                                    </a:lnTo>
                                    <a:lnTo>
                                      <a:pt x="57" y="13"/>
                                    </a:lnTo>
                                    <a:lnTo>
                                      <a:pt x="58" y="12"/>
                                    </a:lnTo>
                                    <a:lnTo>
                                      <a:pt x="58" y="12"/>
                                    </a:lnTo>
                                    <a:lnTo>
                                      <a:pt x="59" y="11"/>
                                    </a:lnTo>
                                    <a:lnTo>
                                      <a:pt x="59" y="10"/>
                                    </a:lnTo>
                                    <a:lnTo>
                                      <a:pt x="60" y="9"/>
                                    </a:lnTo>
                                    <a:lnTo>
                                      <a:pt x="60" y="8"/>
                                    </a:lnTo>
                                    <a:lnTo>
                                      <a:pt x="61" y="8"/>
                                    </a:lnTo>
                                    <a:lnTo>
                                      <a:pt x="62" y="8"/>
                                    </a:lnTo>
                                    <a:lnTo>
                                      <a:pt x="63" y="8"/>
                                    </a:lnTo>
                                    <a:lnTo>
                                      <a:pt x="64" y="8"/>
                                    </a:lnTo>
                                    <a:lnTo>
                                      <a:pt x="64" y="8"/>
                                    </a:lnTo>
                                    <a:lnTo>
                                      <a:pt x="65" y="7"/>
                                    </a:lnTo>
                                    <a:lnTo>
                                      <a:pt x="65" y="7"/>
                                    </a:lnTo>
                                    <a:lnTo>
                                      <a:pt x="66" y="6"/>
                                    </a:lnTo>
                                    <a:lnTo>
                                      <a:pt x="67" y="5"/>
                                    </a:lnTo>
                                    <a:lnTo>
                                      <a:pt x="67" y="4"/>
                                    </a:lnTo>
                                    <a:lnTo>
                                      <a:pt x="68" y="4"/>
                                    </a:lnTo>
                                    <a:lnTo>
                                      <a:pt x="69" y="4"/>
                                    </a:lnTo>
                                    <a:lnTo>
                                      <a:pt x="69" y="3"/>
                                    </a:lnTo>
                                    <a:lnTo>
                                      <a:pt x="70" y="3"/>
                                    </a:lnTo>
                                    <a:lnTo>
                                      <a:pt x="70" y="3"/>
                                    </a:lnTo>
                                    <a:lnTo>
                                      <a:pt x="71" y="3"/>
                                    </a:lnTo>
                                    <a:lnTo>
                                      <a:pt x="71" y="3"/>
                                    </a:lnTo>
                                    <a:lnTo>
                                      <a:pt x="72" y="3"/>
                                    </a:lnTo>
                                    <a:lnTo>
                                      <a:pt x="72" y="3"/>
                                    </a:lnTo>
                                    <a:lnTo>
                                      <a:pt x="72" y="4"/>
                                    </a:lnTo>
                                    <a:lnTo>
                                      <a:pt x="72" y="4"/>
                                    </a:lnTo>
                                    <a:lnTo>
                                      <a:pt x="72" y="4"/>
                                    </a:lnTo>
                                    <a:lnTo>
                                      <a:pt x="73" y="4"/>
                                    </a:lnTo>
                                    <a:lnTo>
                                      <a:pt x="73" y="5"/>
                                    </a:lnTo>
                                    <a:lnTo>
                                      <a:pt x="74" y="5"/>
                                    </a:lnTo>
                                    <a:lnTo>
                                      <a:pt x="75" y="5"/>
                                    </a:lnTo>
                                    <a:lnTo>
                                      <a:pt x="76" y="5"/>
                                    </a:lnTo>
                                    <a:lnTo>
                                      <a:pt x="77" y="5"/>
                                    </a:lnTo>
                                    <a:lnTo>
                                      <a:pt x="77" y="5"/>
                                    </a:lnTo>
                                    <a:lnTo>
                                      <a:pt x="78" y="5"/>
                                    </a:lnTo>
                                    <a:lnTo>
                                      <a:pt x="78" y="5"/>
                                    </a:lnTo>
                                    <a:lnTo>
                                      <a:pt x="79" y="5"/>
                                    </a:lnTo>
                                    <a:lnTo>
                                      <a:pt x="79" y="6"/>
                                    </a:lnTo>
                                    <a:lnTo>
                                      <a:pt x="80" y="6"/>
                                    </a:lnTo>
                                    <a:lnTo>
                                      <a:pt x="80" y="6"/>
                                    </a:lnTo>
                                    <a:lnTo>
                                      <a:pt x="81" y="7"/>
                                    </a:lnTo>
                                    <a:lnTo>
                                      <a:pt x="81" y="8"/>
                                    </a:lnTo>
                                    <a:lnTo>
                                      <a:pt x="81" y="9"/>
                                    </a:lnTo>
                                    <a:lnTo>
                                      <a:pt x="82" y="9"/>
                                    </a:lnTo>
                                    <a:lnTo>
                                      <a:pt x="82" y="10"/>
                                    </a:lnTo>
                                    <a:lnTo>
                                      <a:pt x="83" y="11"/>
                                    </a:lnTo>
                                    <a:lnTo>
                                      <a:pt x="83" y="11"/>
                                    </a:lnTo>
                                    <a:lnTo>
                                      <a:pt x="84" y="11"/>
                                    </a:lnTo>
                                    <a:lnTo>
                                      <a:pt x="85" y="11"/>
                                    </a:lnTo>
                                    <a:lnTo>
                                      <a:pt x="86" y="11"/>
                                    </a:lnTo>
                                    <a:lnTo>
                                      <a:pt x="87" y="11"/>
                                    </a:lnTo>
                                    <a:lnTo>
                                      <a:pt x="88" y="10"/>
                                    </a:lnTo>
                                    <a:lnTo>
                                      <a:pt x="89" y="9"/>
                                    </a:lnTo>
                                    <a:lnTo>
                                      <a:pt x="91" y="8"/>
                                    </a:lnTo>
                                    <a:lnTo>
                                      <a:pt x="92" y="8"/>
                                    </a:lnTo>
                                    <a:lnTo>
                                      <a:pt x="92" y="7"/>
                                    </a:lnTo>
                                    <a:lnTo>
                                      <a:pt x="93" y="7"/>
                                    </a:lnTo>
                                    <a:lnTo>
                                      <a:pt x="95" y="6"/>
                                    </a:lnTo>
                                    <a:lnTo>
                                      <a:pt x="96" y="6"/>
                                    </a:lnTo>
                                    <a:lnTo>
                                      <a:pt x="97" y="6"/>
                                    </a:lnTo>
                                    <a:lnTo>
                                      <a:pt x="98" y="6"/>
                                    </a:lnTo>
                                    <a:lnTo>
                                      <a:pt x="100" y="6"/>
                                    </a:lnTo>
                                    <a:lnTo>
                                      <a:pt x="101" y="6"/>
                                    </a:lnTo>
                                    <a:lnTo>
                                      <a:pt x="102" y="6"/>
                                    </a:lnTo>
                                    <a:lnTo>
                                      <a:pt x="103" y="6"/>
                                    </a:lnTo>
                                    <a:lnTo>
                                      <a:pt x="104" y="8"/>
                                    </a:lnTo>
                                    <a:lnTo>
                                      <a:pt x="105" y="11"/>
                                    </a:lnTo>
                                    <a:lnTo>
                                      <a:pt x="106" y="13"/>
                                    </a:lnTo>
                                    <a:lnTo>
                                      <a:pt x="108" y="15"/>
                                    </a:lnTo>
                                    <a:lnTo>
                                      <a:pt x="109" y="17"/>
                                    </a:lnTo>
                                    <a:lnTo>
                                      <a:pt x="109" y="18"/>
                                    </a:lnTo>
                                    <a:lnTo>
                                      <a:pt x="110" y="19"/>
                                    </a:lnTo>
                                    <a:lnTo>
                                      <a:pt x="111" y="20"/>
                                    </a:lnTo>
                                    <a:lnTo>
                                      <a:pt x="112" y="21"/>
                                    </a:lnTo>
                                    <a:lnTo>
                                      <a:pt x="112" y="22"/>
                                    </a:lnTo>
                                    <a:lnTo>
                                      <a:pt x="113" y="23"/>
                                    </a:lnTo>
                                    <a:lnTo>
                                      <a:pt x="115" y="23"/>
                                    </a:lnTo>
                                    <a:lnTo>
                                      <a:pt x="116" y="23"/>
                                    </a:lnTo>
                                    <a:lnTo>
                                      <a:pt x="117" y="23"/>
                                    </a:lnTo>
                                    <a:lnTo>
                                      <a:pt x="118" y="23"/>
                                    </a:lnTo>
                                    <a:lnTo>
                                      <a:pt x="119" y="23"/>
                                    </a:lnTo>
                                    <a:lnTo>
                                      <a:pt x="120" y="23"/>
                                    </a:lnTo>
                                    <a:lnTo>
                                      <a:pt x="121" y="24"/>
                                    </a:lnTo>
                                    <a:lnTo>
                                      <a:pt x="122" y="24"/>
                                    </a:lnTo>
                                    <a:lnTo>
                                      <a:pt x="123" y="24"/>
                                    </a:lnTo>
                                    <a:lnTo>
                                      <a:pt x="124" y="25"/>
                                    </a:lnTo>
                                    <a:lnTo>
                                      <a:pt x="125" y="26"/>
                                    </a:lnTo>
                                    <a:lnTo>
                                      <a:pt x="127" y="27"/>
                                    </a:lnTo>
                                    <a:lnTo>
                                      <a:pt x="128" y="28"/>
                                    </a:lnTo>
                                    <a:lnTo>
                                      <a:pt x="129" y="28"/>
                                    </a:lnTo>
                                    <a:lnTo>
                                      <a:pt x="130" y="27"/>
                                    </a:lnTo>
                                    <a:lnTo>
                                      <a:pt x="130" y="27"/>
                                    </a:lnTo>
                                    <a:lnTo>
                                      <a:pt x="131" y="27"/>
                                    </a:lnTo>
                                    <a:lnTo>
                                      <a:pt x="131" y="26"/>
                                    </a:lnTo>
                                    <a:lnTo>
                                      <a:pt x="132" y="25"/>
                                    </a:lnTo>
                                    <a:lnTo>
                                      <a:pt x="132" y="25"/>
                                    </a:lnTo>
                                    <a:lnTo>
                                      <a:pt x="133" y="24"/>
                                    </a:lnTo>
                                    <a:lnTo>
                                      <a:pt x="133" y="23"/>
                                    </a:lnTo>
                                    <a:lnTo>
                                      <a:pt x="134" y="21"/>
                                    </a:lnTo>
                                    <a:lnTo>
                                      <a:pt x="134" y="19"/>
                                    </a:lnTo>
                                    <a:lnTo>
                                      <a:pt x="134" y="19"/>
                                    </a:lnTo>
                                    <a:lnTo>
                                      <a:pt x="135" y="18"/>
                                    </a:lnTo>
                                    <a:lnTo>
                                      <a:pt x="135" y="18"/>
                                    </a:lnTo>
                                    <a:lnTo>
                                      <a:pt x="136" y="18"/>
                                    </a:lnTo>
                                    <a:lnTo>
                                      <a:pt x="136" y="18"/>
                                    </a:lnTo>
                                    <a:lnTo>
                                      <a:pt x="137" y="19"/>
                                    </a:lnTo>
                                    <a:lnTo>
                                      <a:pt x="137" y="19"/>
                                    </a:lnTo>
                                    <a:lnTo>
                                      <a:pt x="137" y="19"/>
                                    </a:lnTo>
                                    <a:lnTo>
                                      <a:pt x="137" y="20"/>
                                    </a:lnTo>
                                    <a:lnTo>
                                      <a:pt x="138" y="21"/>
                                    </a:lnTo>
                                    <a:lnTo>
                                      <a:pt x="138" y="22"/>
                                    </a:lnTo>
                                    <a:lnTo>
                                      <a:pt x="138" y="22"/>
                                    </a:lnTo>
                                    <a:lnTo>
                                      <a:pt x="138" y="23"/>
                                    </a:lnTo>
                                    <a:lnTo>
                                      <a:pt x="139" y="23"/>
                                    </a:lnTo>
                                    <a:lnTo>
                                      <a:pt x="139" y="23"/>
                                    </a:lnTo>
                                    <a:lnTo>
                                      <a:pt x="140" y="23"/>
                                    </a:lnTo>
                                    <a:lnTo>
                                      <a:pt x="144" y="23"/>
                                    </a:lnTo>
                                    <a:lnTo>
                                      <a:pt x="147" y="23"/>
                                    </a:lnTo>
                                    <a:lnTo>
                                      <a:pt x="149" y="23"/>
                                    </a:lnTo>
                                    <a:lnTo>
                                      <a:pt x="151" y="23"/>
                                    </a:lnTo>
                                    <a:lnTo>
                                      <a:pt x="153" y="23"/>
                                    </a:lnTo>
                                    <a:lnTo>
                                      <a:pt x="155" y="23"/>
                                    </a:lnTo>
                                    <a:lnTo>
                                      <a:pt x="156" y="23"/>
                                    </a:lnTo>
                                    <a:lnTo>
                                      <a:pt x="158" y="22"/>
                                    </a:lnTo>
                                    <a:lnTo>
                                      <a:pt x="159" y="22"/>
                                    </a:lnTo>
                                    <a:lnTo>
                                      <a:pt x="160" y="21"/>
                                    </a:lnTo>
                                    <a:lnTo>
                                      <a:pt x="162" y="20"/>
                                    </a:lnTo>
                                    <a:lnTo>
                                      <a:pt x="163" y="20"/>
                                    </a:lnTo>
                                    <a:lnTo>
                                      <a:pt x="164" y="19"/>
                                    </a:lnTo>
                                    <a:lnTo>
                                      <a:pt x="165" y="18"/>
                                    </a:lnTo>
                                    <a:lnTo>
                                      <a:pt x="165" y="16"/>
                                    </a:lnTo>
                                    <a:lnTo>
                                      <a:pt x="165" y="14"/>
                                    </a:lnTo>
                                    <a:lnTo>
                                      <a:pt x="166" y="12"/>
                                    </a:lnTo>
                                    <a:lnTo>
                                      <a:pt x="166" y="10"/>
                                    </a:lnTo>
                                    <a:lnTo>
                                      <a:pt x="166" y="8"/>
                                    </a:lnTo>
                                    <a:lnTo>
                                      <a:pt x="167" y="6"/>
                                    </a:lnTo>
                                    <a:lnTo>
                                      <a:pt x="167" y="5"/>
                                    </a:lnTo>
                                    <a:lnTo>
                                      <a:pt x="168" y="3"/>
                                    </a:lnTo>
                                    <a:lnTo>
                                      <a:pt x="170" y="3"/>
                                    </a:lnTo>
                                    <a:lnTo>
                                      <a:pt x="171" y="3"/>
                                    </a:lnTo>
                                    <a:lnTo>
                                      <a:pt x="173" y="3"/>
                                    </a:lnTo>
                                    <a:lnTo>
                                      <a:pt x="175" y="3"/>
                                    </a:lnTo>
                                    <a:lnTo>
                                      <a:pt x="178" y="7"/>
                                    </a:lnTo>
                                    <a:lnTo>
                                      <a:pt x="181" y="10"/>
                                    </a:lnTo>
                                    <a:lnTo>
                                      <a:pt x="182" y="12"/>
                                    </a:lnTo>
                                    <a:lnTo>
                                      <a:pt x="184" y="14"/>
                                    </a:lnTo>
                                    <a:lnTo>
                                      <a:pt x="185" y="16"/>
                                    </a:lnTo>
                                    <a:lnTo>
                                      <a:pt x="187" y="18"/>
                                    </a:lnTo>
                                    <a:lnTo>
                                      <a:pt x="187" y="20"/>
                                    </a:lnTo>
                                    <a:lnTo>
                                      <a:pt x="187" y="23"/>
                                    </a:lnTo>
                                    <a:lnTo>
                                      <a:pt x="187" y="25"/>
                                    </a:lnTo>
                                    <a:lnTo>
                                      <a:pt x="188" y="27"/>
                                    </a:lnTo>
                                    <a:lnTo>
                                      <a:pt x="188" y="29"/>
                                    </a:lnTo>
                                    <a:lnTo>
                                      <a:pt x="189" y="31"/>
                                    </a:lnTo>
                                    <a:lnTo>
                                      <a:pt x="190" y="35"/>
                                    </a:lnTo>
                                    <a:lnTo>
                                      <a:pt x="192" y="39"/>
                                    </a:lnTo>
                                    <a:lnTo>
                                      <a:pt x="192" y="41"/>
                                    </a:lnTo>
                                    <a:lnTo>
                                      <a:pt x="193" y="43"/>
                                    </a:lnTo>
                                    <a:lnTo>
                                      <a:pt x="193" y="45"/>
                                    </a:lnTo>
                                    <a:lnTo>
                                      <a:pt x="194" y="47"/>
                                    </a:lnTo>
                                    <a:lnTo>
                                      <a:pt x="194" y="49"/>
                                    </a:lnTo>
                                    <a:lnTo>
                                      <a:pt x="195" y="51"/>
                                    </a:lnTo>
                                    <a:lnTo>
                                      <a:pt x="194" y="52"/>
                                    </a:lnTo>
                                    <a:lnTo>
                                      <a:pt x="193" y="53"/>
                                    </a:lnTo>
                                    <a:lnTo>
                                      <a:pt x="192" y="53"/>
                                    </a:lnTo>
                                    <a:lnTo>
                                      <a:pt x="192" y="54"/>
                                    </a:lnTo>
                                    <a:lnTo>
                                      <a:pt x="191" y="55"/>
                                    </a:lnTo>
                                    <a:lnTo>
                                      <a:pt x="191" y="56"/>
                                    </a:lnTo>
                                    <a:lnTo>
                                      <a:pt x="190" y="58"/>
                                    </a:lnTo>
                                    <a:lnTo>
                                      <a:pt x="189" y="59"/>
                                    </a:lnTo>
                                    <a:lnTo>
                                      <a:pt x="189" y="60"/>
                                    </a:lnTo>
                                    <a:lnTo>
                                      <a:pt x="188" y="61"/>
                                    </a:lnTo>
                                    <a:lnTo>
                                      <a:pt x="187" y="61"/>
                                    </a:lnTo>
                                    <a:lnTo>
                                      <a:pt x="186" y="62"/>
                                    </a:lnTo>
                                    <a:lnTo>
                                      <a:pt x="185" y="62"/>
                                    </a:lnTo>
                                    <a:lnTo>
                                      <a:pt x="185" y="63"/>
                                    </a:lnTo>
                                    <a:lnTo>
                                      <a:pt x="184" y="63"/>
                                    </a:lnTo>
                                    <a:lnTo>
                                      <a:pt x="184" y="63"/>
                                    </a:lnTo>
                                    <a:lnTo>
                                      <a:pt x="183" y="63"/>
                                    </a:lnTo>
                                    <a:lnTo>
                                      <a:pt x="183" y="64"/>
                                    </a:lnTo>
                                    <a:lnTo>
                                      <a:pt x="183" y="65"/>
                                    </a:lnTo>
                                    <a:lnTo>
                                      <a:pt x="183" y="66"/>
                                    </a:lnTo>
                                    <a:lnTo>
                                      <a:pt x="183" y="66"/>
                                    </a:lnTo>
                                    <a:lnTo>
                                      <a:pt x="182" y="68"/>
                                    </a:lnTo>
                                    <a:lnTo>
                                      <a:pt x="182" y="69"/>
                                    </a:lnTo>
                                    <a:lnTo>
                                      <a:pt x="182" y="71"/>
                                    </a:lnTo>
                                    <a:lnTo>
                                      <a:pt x="181" y="72"/>
                                    </a:lnTo>
                                    <a:lnTo>
                                      <a:pt x="181" y="72"/>
                                    </a:lnTo>
                                    <a:lnTo>
                                      <a:pt x="181" y="73"/>
                                    </a:lnTo>
                                    <a:lnTo>
                                      <a:pt x="181" y="74"/>
                                    </a:lnTo>
                                    <a:lnTo>
                                      <a:pt x="181" y="75"/>
                                    </a:lnTo>
                                    <a:lnTo>
                                      <a:pt x="181" y="76"/>
                                    </a:lnTo>
                                    <a:lnTo>
                                      <a:pt x="182" y="77"/>
                                    </a:lnTo>
                                    <a:lnTo>
                                      <a:pt x="183" y="77"/>
                                    </a:lnTo>
                                    <a:lnTo>
                                      <a:pt x="183" y="78"/>
                                    </a:lnTo>
                                    <a:lnTo>
                                      <a:pt x="184" y="78"/>
                                    </a:lnTo>
                                    <a:lnTo>
                                      <a:pt x="184" y="78"/>
                                    </a:lnTo>
                                    <a:lnTo>
                                      <a:pt x="185" y="78"/>
                                    </a:lnTo>
                                    <a:lnTo>
                                      <a:pt x="185" y="79"/>
                                    </a:lnTo>
                                    <a:lnTo>
                                      <a:pt x="185" y="79"/>
                                    </a:lnTo>
                                    <a:lnTo>
                                      <a:pt x="186" y="79"/>
                                    </a:lnTo>
                                    <a:lnTo>
                                      <a:pt x="187" y="79"/>
                                    </a:lnTo>
                                    <a:lnTo>
                                      <a:pt x="187" y="79"/>
                                    </a:lnTo>
                                    <a:lnTo>
                                      <a:pt x="188" y="78"/>
                                    </a:lnTo>
                                    <a:lnTo>
                                      <a:pt x="188" y="78"/>
                                    </a:lnTo>
                                    <a:lnTo>
                                      <a:pt x="189" y="78"/>
                                    </a:lnTo>
                                    <a:lnTo>
                                      <a:pt x="190" y="78"/>
                                    </a:lnTo>
                                    <a:lnTo>
                                      <a:pt x="191" y="78"/>
                                    </a:lnTo>
                                    <a:lnTo>
                                      <a:pt x="191" y="78"/>
                                    </a:lnTo>
                                    <a:lnTo>
                                      <a:pt x="192" y="79"/>
                                    </a:lnTo>
                                    <a:lnTo>
                                      <a:pt x="192" y="80"/>
                                    </a:lnTo>
                                    <a:lnTo>
                                      <a:pt x="192" y="81"/>
                                    </a:lnTo>
                                    <a:lnTo>
                                      <a:pt x="192" y="82"/>
                                    </a:lnTo>
                                    <a:lnTo>
                                      <a:pt x="192" y="83"/>
                                    </a:lnTo>
                                    <a:lnTo>
                                      <a:pt x="193" y="84"/>
                                    </a:lnTo>
                                    <a:lnTo>
                                      <a:pt x="193" y="84"/>
                                    </a:lnTo>
                                    <a:lnTo>
                                      <a:pt x="194" y="85"/>
                                    </a:lnTo>
                                    <a:lnTo>
                                      <a:pt x="195" y="86"/>
                                    </a:lnTo>
                                    <a:lnTo>
                                      <a:pt x="196" y="87"/>
                                    </a:lnTo>
                                    <a:lnTo>
                                      <a:pt x="197" y="88"/>
                                    </a:lnTo>
                                    <a:lnTo>
                                      <a:pt x="198" y="89"/>
                                    </a:lnTo>
                                    <a:lnTo>
                                      <a:pt x="200" y="90"/>
                                    </a:lnTo>
                                    <a:lnTo>
                                      <a:pt x="201" y="91"/>
                                    </a:lnTo>
                                    <a:lnTo>
                                      <a:pt x="204" y="92"/>
                                    </a:lnTo>
                                    <a:lnTo>
                                      <a:pt x="206" y="93"/>
                                    </a:lnTo>
                                    <a:lnTo>
                                      <a:pt x="207" y="94"/>
                                    </a:lnTo>
                                    <a:lnTo>
                                      <a:pt x="209" y="95"/>
                                    </a:lnTo>
                                    <a:lnTo>
                                      <a:pt x="210" y="96"/>
                                    </a:lnTo>
                                    <a:lnTo>
                                      <a:pt x="210" y="98"/>
                                    </a:lnTo>
                                    <a:lnTo>
                                      <a:pt x="210" y="99"/>
                                    </a:lnTo>
                                    <a:lnTo>
                                      <a:pt x="210" y="100"/>
                                    </a:lnTo>
                                    <a:lnTo>
                                      <a:pt x="210" y="101"/>
                                    </a:lnTo>
                                    <a:lnTo>
                                      <a:pt x="210" y="102"/>
                                    </a:lnTo>
                                    <a:lnTo>
                                      <a:pt x="211" y="103"/>
                                    </a:lnTo>
                                    <a:lnTo>
                                      <a:pt x="211" y="104"/>
                                    </a:lnTo>
                                    <a:lnTo>
                                      <a:pt x="211" y="105"/>
                                    </a:lnTo>
                                    <a:lnTo>
                                      <a:pt x="212" y="105"/>
                                    </a:lnTo>
                                    <a:lnTo>
                                      <a:pt x="212" y="105"/>
                                    </a:lnTo>
                                    <a:lnTo>
                                      <a:pt x="213" y="105"/>
                                    </a:lnTo>
                                    <a:lnTo>
                                      <a:pt x="213" y="105"/>
                                    </a:lnTo>
                                    <a:lnTo>
                                      <a:pt x="213" y="105"/>
                                    </a:lnTo>
                                    <a:lnTo>
                                      <a:pt x="214" y="106"/>
                                    </a:lnTo>
                                    <a:lnTo>
                                      <a:pt x="214" y="106"/>
                                    </a:lnTo>
                                    <a:lnTo>
                                      <a:pt x="214" y="107"/>
                                    </a:lnTo>
                                    <a:lnTo>
                                      <a:pt x="214" y="107"/>
                                    </a:lnTo>
                                    <a:lnTo>
                                      <a:pt x="214" y="108"/>
                                    </a:lnTo>
                                    <a:lnTo>
                                      <a:pt x="215" y="110"/>
                                    </a:lnTo>
                                    <a:lnTo>
                                      <a:pt x="215" y="111"/>
                                    </a:lnTo>
                                    <a:lnTo>
                                      <a:pt x="215" y="112"/>
                                    </a:lnTo>
                                    <a:lnTo>
                                      <a:pt x="215" y="112"/>
                                    </a:lnTo>
                                    <a:lnTo>
                                      <a:pt x="215" y="113"/>
                                    </a:lnTo>
                                    <a:lnTo>
                                      <a:pt x="216" y="114"/>
                                    </a:lnTo>
                                    <a:lnTo>
                                      <a:pt x="216" y="114"/>
                                    </a:lnTo>
                                    <a:lnTo>
                                      <a:pt x="216" y="115"/>
                                    </a:lnTo>
                                    <a:lnTo>
                                      <a:pt x="216" y="116"/>
                                    </a:lnTo>
                                    <a:lnTo>
                                      <a:pt x="216" y="117"/>
                                    </a:lnTo>
                                    <a:lnTo>
                                      <a:pt x="215" y="118"/>
                                    </a:lnTo>
                                    <a:lnTo>
                                      <a:pt x="215" y="120"/>
                                    </a:lnTo>
                                    <a:lnTo>
                                      <a:pt x="214" y="121"/>
                                    </a:lnTo>
                                    <a:lnTo>
                                      <a:pt x="213" y="122"/>
                                    </a:lnTo>
                                    <a:lnTo>
                                      <a:pt x="213" y="123"/>
                                    </a:lnTo>
                                    <a:lnTo>
                                      <a:pt x="212" y="123"/>
                                    </a:lnTo>
                                    <a:lnTo>
                                      <a:pt x="211" y="124"/>
                                    </a:lnTo>
                                    <a:lnTo>
                                      <a:pt x="210" y="125"/>
                                    </a:lnTo>
                                    <a:lnTo>
                                      <a:pt x="208" y="126"/>
                                    </a:lnTo>
                                    <a:lnTo>
                                      <a:pt x="206" y="128"/>
                                    </a:lnTo>
                                    <a:lnTo>
                                      <a:pt x="204" y="129"/>
                                    </a:lnTo>
                                    <a:lnTo>
                                      <a:pt x="202" y="130"/>
                                    </a:lnTo>
                                    <a:lnTo>
                                      <a:pt x="200" y="131"/>
                                    </a:lnTo>
                                    <a:lnTo>
                                      <a:pt x="198" y="133"/>
                                    </a:lnTo>
                                    <a:lnTo>
                                      <a:pt x="196" y="134"/>
                                    </a:lnTo>
                                    <a:lnTo>
                                      <a:pt x="195" y="135"/>
                                    </a:lnTo>
                                    <a:lnTo>
                                      <a:pt x="194" y="136"/>
                                    </a:lnTo>
                                    <a:lnTo>
                                      <a:pt x="193" y="136"/>
                                    </a:lnTo>
                                    <a:lnTo>
                                      <a:pt x="192" y="137"/>
                                    </a:lnTo>
                                    <a:lnTo>
                                      <a:pt x="192" y="138"/>
                                    </a:lnTo>
                                    <a:lnTo>
                                      <a:pt x="191" y="139"/>
                                    </a:lnTo>
                                    <a:lnTo>
                                      <a:pt x="190" y="140"/>
                                    </a:lnTo>
                                    <a:lnTo>
                                      <a:pt x="190" y="141"/>
                                    </a:lnTo>
                                    <a:lnTo>
                                      <a:pt x="189" y="141"/>
                                    </a:lnTo>
                                    <a:lnTo>
                                      <a:pt x="188" y="141"/>
                                    </a:lnTo>
                                    <a:lnTo>
                                      <a:pt x="187" y="141"/>
                                    </a:lnTo>
                                    <a:lnTo>
                                      <a:pt x="187" y="141"/>
                                    </a:lnTo>
                                    <a:lnTo>
                                      <a:pt x="185" y="141"/>
                                    </a:lnTo>
                                    <a:lnTo>
                                      <a:pt x="184" y="140"/>
                                    </a:lnTo>
                                    <a:lnTo>
                                      <a:pt x="183" y="139"/>
                                    </a:lnTo>
                                    <a:lnTo>
                                      <a:pt x="182" y="139"/>
                                    </a:lnTo>
                                    <a:lnTo>
                                      <a:pt x="181" y="138"/>
                                    </a:lnTo>
                                    <a:lnTo>
                                      <a:pt x="180" y="137"/>
                                    </a:lnTo>
                                    <a:lnTo>
                                      <a:pt x="179" y="136"/>
                                    </a:lnTo>
                                    <a:lnTo>
                                      <a:pt x="179" y="135"/>
                                    </a:lnTo>
                                    <a:lnTo>
                                      <a:pt x="177" y="133"/>
                                    </a:lnTo>
                                    <a:lnTo>
                                      <a:pt x="176" y="131"/>
                                    </a:lnTo>
                                    <a:lnTo>
                                      <a:pt x="174" y="129"/>
                                    </a:lnTo>
                                    <a:lnTo>
                                      <a:pt x="173" y="127"/>
                                    </a:lnTo>
                                    <a:lnTo>
                                      <a:pt x="171" y="125"/>
                                    </a:lnTo>
                                    <a:lnTo>
                                      <a:pt x="170" y="123"/>
                                    </a:lnTo>
                                    <a:lnTo>
                                      <a:pt x="169" y="122"/>
                                    </a:lnTo>
                                    <a:lnTo>
                                      <a:pt x="168" y="121"/>
                                    </a:lnTo>
                                    <a:lnTo>
                                      <a:pt x="167" y="121"/>
                                    </a:lnTo>
                                    <a:lnTo>
                                      <a:pt x="167" y="120"/>
                                    </a:lnTo>
                                    <a:lnTo>
                                      <a:pt x="166" y="119"/>
                                    </a:lnTo>
                                    <a:lnTo>
                                      <a:pt x="165" y="119"/>
                                    </a:lnTo>
                                    <a:lnTo>
                                      <a:pt x="163" y="118"/>
                                    </a:lnTo>
                                    <a:lnTo>
                                      <a:pt x="162" y="117"/>
                                    </a:lnTo>
                                    <a:lnTo>
                                      <a:pt x="161" y="117"/>
                                    </a:lnTo>
                                    <a:lnTo>
                                      <a:pt x="159" y="117"/>
                                    </a:lnTo>
                                    <a:lnTo>
                                      <a:pt x="158" y="116"/>
                                    </a:lnTo>
                                    <a:lnTo>
                                      <a:pt x="157" y="116"/>
                                    </a:lnTo>
                                    <a:lnTo>
                                      <a:pt x="156" y="117"/>
                                    </a:lnTo>
                                    <a:lnTo>
                                      <a:pt x="155" y="117"/>
                                    </a:lnTo>
                                    <a:lnTo>
                                      <a:pt x="154" y="118"/>
                                    </a:lnTo>
                                    <a:lnTo>
                                      <a:pt x="153" y="119"/>
                                    </a:lnTo>
                                    <a:lnTo>
                                      <a:pt x="152" y="120"/>
                                    </a:lnTo>
                                    <a:lnTo>
                                      <a:pt x="151" y="121"/>
                                    </a:lnTo>
                                    <a:lnTo>
                                      <a:pt x="150" y="123"/>
                                    </a:lnTo>
                                    <a:lnTo>
                                      <a:pt x="149" y="124"/>
                                    </a:lnTo>
                                    <a:lnTo>
                                      <a:pt x="149" y="125"/>
                                    </a:lnTo>
                                    <a:lnTo>
                                      <a:pt x="148" y="128"/>
                                    </a:lnTo>
                                    <a:lnTo>
                                      <a:pt x="147" y="130"/>
                                    </a:lnTo>
                                    <a:lnTo>
                                      <a:pt x="146" y="131"/>
                                    </a:lnTo>
                                    <a:lnTo>
                                      <a:pt x="146" y="133"/>
                                    </a:lnTo>
                                    <a:lnTo>
                                      <a:pt x="145" y="134"/>
                                    </a:lnTo>
                                    <a:lnTo>
                                      <a:pt x="144" y="135"/>
                                    </a:lnTo>
                                    <a:lnTo>
                                      <a:pt x="143" y="136"/>
                                    </a:lnTo>
                                    <a:lnTo>
                                      <a:pt x="142" y="136"/>
                                    </a:lnTo>
                                    <a:lnTo>
                                      <a:pt x="142" y="136"/>
                                    </a:lnTo>
                                    <a:lnTo>
                                      <a:pt x="141" y="136"/>
                                    </a:lnTo>
                                    <a:lnTo>
                                      <a:pt x="140" y="136"/>
                                    </a:lnTo>
                                    <a:lnTo>
                                      <a:pt x="140" y="136"/>
                                    </a:lnTo>
                                    <a:lnTo>
                                      <a:pt x="139" y="136"/>
                                    </a:lnTo>
                                    <a:lnTo>
                                      <a:pt x="138" y="135"/>
                                    </a:lnTo>
                                    <a:lnTo>
                                      <a:pt x="137" y="135"/>
                                    </a:lnTo>
                                    <a:lnTo>
                                      <a:pt x="137" y="135"/>
                                    </a:lnTo>
                                    <a:lnTo>
                                      <a:pt x="136" y="134"/>
                                    </a:lnTo>
                                    <a:lnTo>
                                      <a:pt x="136" y="134"/>
                                    </a:lnTo>
                                    <a:lnTo>
                                      <a:pt x="135" y="134"/>
                                    </a:lnTo>
                                    <a:lnTo>
                                      <a:pt x="134" y="134"/>
                                    </a:lnTo>
                                    <a:lnTo>
                                      <a:pt x="133" y="135"/>
                                    </a:lnTo>
                                    <a:lnTo>
                                      <a:pt x="133" y="136"/>
                                    </a:lnTo>
                                    <a:lnTo>
                                      <a:pt x="132" y="137"/>
                                    </a:lnTo>
                                    <a:lnTo>
                                      <a:pt x="131" y="138"/>
                                    </a:lnTo>
                                    <a:lnTo>
                                      <a:pt x="131" y="139"/>
                                    </a:lnTo>
                                    <a:lnTo>
                                      <a:pt x="129" y="141"/>
                                    </a:lnTo>
                                    <a:lnTo>
                                      <a:pt x="127" y="142"/>
                                    </a:lnTo>
                                    <a:lnTo>
                                      <a:pt x="125" y="144"/>
                                    </a:lnTo>
                                    <a:lnTo>
                                      <a:pt x="123" y="145"/>
                                    </a:lnTo>
                                    <a:lnTo>
                                      <a:pt x="122" y="147"/>
                                    </a:lnTo>
                                    <a:lnTo>
                                      <a:pt x="120" y="148"/>
                                    </a:lnTo>
                                    <a:lnTo>
                                      <a:pt x="118" y="150"/>
                                    </a:lnTo>
                                    <a:lnTo>
                                      <a:pt x="116" y="151"/>
                                    </a:lnTo>
                                    <a:lnTo>
                                      <a:pt x="114" y="153"/>
                                    </a:lnTo>
                                    <a:lnTo>
                                      <a:pt x="112" y="155"/>
                                    </a:lnTo>
                                    <a:lnTo>
                                      <a:pt x="111" y="157"/>
                                    </a:lnTo>
                                    <a:lnTo>
                                      <a:pt x="110" y="157"/>
                                    </a:lnTo>
                                    <a:lnTo>
                                      <a:pt x="109" y="158"/>
                                    </a:lnTo>
                                    <a:lnTo>
                                      <a:pt x="108" y="159"/>
                                    </a:lnTo>
                                    <a:lnTo>
                                      <a:pt x="108" y="161"/>
                                    </a:lnTo>
                                    <a:lnTo>
                                      <a:pt x="107" y="162"/>
                                    </a:lnTo>
                                    <a:lnTo>
                                      <a:pt x="106" y="163"/>
                                    </a:lnTo>
                                    <a:lnTo>
                                      <a:pt x="105" y="163"/>
                                    </a:lnTo>
                                    <a:lnTo>
                                      <a:pt x="104" y="163"/>
                                    </a:lnTo>
                                    <a:lnTo>
                                      <a:pt x="102" y="164"/>
                                    </a:lnTo>
                                    <a:lnTo>
                                      <a:pt x="101" y="165"/>
                                    </a:lnTo>
                                    <a:lnTo>
                                      <a:pt x="100" y="165"/>
                                    </a:lnTo>
                                    <a:lnTo>
                                      <a:pt x="99" y="166"/>
                                    </a:lnTo>
                                    <a:lnTo>
                                      <a:pt x="98" y="167"/>
                                    </a:lnTo>
                                    <a:lnTo>
                                      <a:pt x="97" y="167"/>
                                    </a:lnTo>
                                    <a:lnTo>
                                      <a:pt x="96" y="168"/>
                                    </a:lnTo>
                                    <a:lnTo>
                                      <a:pt x="95" y="169"/>
                                    </a:lnTo>
                                    <a:lnTo>
                                      <a:pt x="94" y="170"/>
                                    </a:lnTo>
                                    <a:lnTo>
                                      <a:pt x="94" y="171"/>
                                    </a:lnTo>
                                    <a:lnTo>
                                      <a:pt x="93" y="172"/>
                                    </a:lnTo>
                                    <a:lnTo>
                                      <a:pt x="93" y="174"/>
                                    </a:lnTo>
                                    <a:lnTo>
                                      <a:pt x="92" y="175"/>
                                    </a:lnTo>
                                    <a:lnTo>
                                      <a:pt x="92" y="176"/>
                                    </a:lnTo>
                                    <a:lnTo>
                                      <a:pt x="91" y="176"/>
                                    </a:lnTo>
                                    <a:lnTo>
                                      <a:pt x="91" y="176"/>
                                    </a:lnTo>
                                    <a:lnTo>
                                      <a:pt x="90" y="176"/>
                                    </a:lnTo>
                                    <a:lnTo>
                                      <a:pt x="90" y="176"/>
                                    </a:lnTo>
                                    <a:lnTo>
                                      <a:pt x="89" y="176"/>
                                    </a:lnTo>
                                    <a:lnTo>
                                      <a:pt x="87" y="176"/>
                                    </a:lnTo>
                                    <a:lnTo>
                                      <a:pt x="86" y="176"/>
                                    </a:lnTo>
                                    <a:lnTo>
                                      <a:pt x="85" y="176"/>
                                    </a:lnTo>
                                    <a:lnTo>
                                      <a:pt x="82" y="176"/>
                                    </a:lnTo>
                                    <a:lnTo>
                                      <a:pt x="80" y="176"/>
                                    </a:lnTo>
                                    <a:lnTo>
                                      <a:pt x="77" y="177"/>
                                    </a:lnTo>
                                    <a:lnTo>
                                      <a:pt x="74" y="177"/>
                                    </a:lnTo>
                                    <a:lnTo>
                                      <a:pt x="71" y="178"/>
                                    </a:lnTo>
                                    <a:lnTo>
                                      <a:pt x="69" y="179"/>
                                    </a:lnTo>
                                    <a:lnTo>
                                      <a:pt x="63" y="180"/>
                                    </a:lnTo>
                                    <a:lnTo>
                                      <a:pt x="60" y="181"/>
                                    </a:lnTo>
                                    <a:lnTo>
                                      <a:pt x="57" y="181"/>
                                    </a:lnTo>
                                    <a:lnTo>
                                      <a:pt x="54" y="182"/>
                                    </a:lnTo>
                                    <a:lnTo>
                                      <a:pt x="51" y="182"/>
                                    </a:lnTo>
                                    <a:lnTo>
                                      <a:pt x="48" y="183"/>
                                    </a:lnTo>
                                    <a:lnTo>
                                      <a:pt x="45" y="183"/>
                                    </a:lnTo>
                                    <a:lnTo>
                                      <a:pt x="44" y="182"/>
                                    </a:lnTo>
                                    <a:lnTo>
                                      <a:pt x="44" y="181"/>
                                    </a:lnTo>
                                    <a:lnTo>
                                      <a:pt x="44" y="179"/>
                                    </a:lnTo>
                                    <a:lnTo>
                                      <a:pt x="43" y="178"/>
                                    </a:lnTo>
                                    <a:lnTo>
                                      <a:pt x="43" y="176"/>
                                    </a:lnTo>
                                    <a:lnTo>
                                      <a:pt x="43" y="175"/>
                                    </a:lnTo>
                                    <a:lnTo>
                                      <a:pt x="43" y="173"/>
                                    </a:lnTo>
                                    <a:lnTo>
                                      <a:pt x="43" y="171"/>
                                    </a:lnTo>
                                    <a:lnTo>
                                      <a:pt x="43" y="168"/>
                                    </a:lnTo>
                                    <a:lnTo>
                                      <a:pt x="43" y="164"/>
                                    </a:lnTo>
                                    <a:lnTo>
                                      <a:pt x="43" y="163"/>
                                    </a:lnTo>
                                    <a:lnTo>
                                      <a:pt x="43" y="161"/>
                                    </a:lnTo>
                                    <a:lnTo>
                                      <a:pt x="43" y="159"/>
                                    </a:lnTo>
                                    <a:lnTo>
                                      <a:pt x="43" y="158"/>
                                    </a:lnTo>
                                    <a:lnTo>
                                      <a:pt x="44" y="157"/>
                                    </a:lnTo>
                                    <a:lnTo>
                                      <a:pt x="44" y="157"/>
                                    </a:lnTo>
                                    <a:lnTo>
                                      <a:pt x="45" y="156"/>
                                    </a:lnTo>
                                    <a:lnTo>
                                      <a:pt x="45" y="155"/>
                                    </a:lnTo>
                                    <a:lnTo>
                                      <a:pt x="45" y="154"/>
                                    </a:lnTo>
                                    <a:lnTo>
                                      <a:pt x="45" y="153"/>
                                    </a:lnTo>
                                    <a:lnTo>
                                      <a:pt x="45" y="152"/>
                                    </a:lnTo>
                                    <a:lnTo>
                                      <a:pt x="45" y="151"/>
                                    </a:lnTo>
                                    <a:lnTo>
                                      <a:pt x="45" y="149"/>
                                    </a:lnTo>
                                    <a:lnTo>
                                      <a:pt x="45" y="147"/>
                                    </a:lnTo>
                                    <a:lnTo>
                                      <a:pt x="45" y="145"/>
                                    </a:lnTo>
                                    <a:lnTo>
                                      <a:pt x="45" y="144"/>
                                    </a:lnTo>
                                    <a:lnTo>
                                      <a:pt x="45" y="143"/>
                                    </a:lnTo>
                                    <a:lnTo>
                                      <a:pt x="44" y="142"/>
                                    </a:lnTo>
                                    <a:lnTo>
                                      <a:pt x="43" y="140"/>
                                    </a:lnTo>
                                    <a:lnTo>
                                      <a:pt x="42" y="139"/>
                                    </a:lnTo>
                                    <a:lnTo>
                                      <a:pt x="41" y="138"/>
                                    </a:lnTo>
                                    <a:lnTo>
                                      <a:pt x="39" y="137"/>
                                    </a:lnTo>
                                    <a:lnTo>
                                      <a:pt x="38" y="136"/>
                                    </a:lnTo>
                                    <a:lnTo>
                                      <a:pt x="36" y="135"/>
                                    </a:lnTo>
                                    <a:lnTo>
                                      <a:pt x="35" y="135"/>
                                    </a:lnTo>
                                    <a:lnTo>
                                      <a:pt x="32" y="133"/>
                                    </a:lnTo>
                                    <a:lnTo>
                                      <a:pt x="30" y="132"/>
                                    </a:lnTo>
                                    <a:lnTo>
                                      <a:pt x="29" y="132"/>
                                    </a:lnTo>
                                    <a:lnTo>
                                      <a:pt x="27" y="131"/>
                                    </a:lnTo>
                                    <a:lnTo>
                                      <a:pt x="26" y="130"/>
                                    </a:lnTo>
                                    <a:lnTo>
                                      <a:pt x="25" y="129"/>
                                    </a:lnTo>
                                    <a:lnTo>
                                      <a:pt x="23" y="128"/>
                                    </a:lnTo>
                                    <a:lnTo>
                                      <a:pt x="23" y="125"/>
                                    </a:lnTo>
                                    <a:lnTo>
                                      <a:pt x="23" y="123"/>
                                    </a:lnTo>
                                    <a:lnTo>
                                      <a:pt x="23" y="120"/>
                                    </a:lnTo>
                                    <a:lnTo>
                                      <a:pt x="23" y="118"/>
                                    </a:lnTo>
                                    <a:lnTo>
                                      <a:pt x="23" y="116"/>
                                    </a:lnTo>
                                    <a:lnTo>
                                      <a:pt x="23" y="114"/>
                                    </a:lnTo>
                                    <a:lnTo>
                                      <a:pt x="23" y="112"/>
                                    </a:lnTo>
                                    <a:lnTo>
                                      <a:pt x="23" y="110"/>
                                    </a:lnTo>
                                    <a:lnTo>
                                      <a:pt x="23" y="109"/>
                                    </a:lnTo>
                                    <a:lnTo>
                                      <a:pt x="23" y="107"/>
                                    </a:lnTo>
                                    <a:lnTo>
                                      <a:pt x="24" y="106"/>
                                    </a:lnTo>
                                    <a:lnTo>
                                      <a:pt x="24" y="104"/>
                                    </a:lnTo>
                                    <a:lnTo>
                                      <a:pt x="25" y="103"/>
                                    </a:lnTo>
                                    <a:lnTo>
                                      <a:pt x="25" y="102"/>
                                    </a:lnTo>
                                    <a:lnTo>
                                      <a:pt x="25" y="102"/>
                                    </a:lnTo>
                                    <a:lnTo>
                                      <a:pt x="26" y="101"/>
                                    </a:lnTo>
                                    <a:lnTo>
                                      <a:pt x="26" y="100"/>
                                    </a:lnTo>
                                    <a:lnTo>
                                      <a:pt x="27" y="99"/>
                                    </a:lnTo>
                                    <a:lnTo>
                                      <a:pt x="28" y="99"/>
                                    </a:lnTo>
                                    <a:lnTo>
                                      <a:pt x="28" y="98"/>
                                    </a:lnTo>
                                    <a:lnTo>
                                      <a:pt x="29" y="97"/>
                                    </a:lnTo>
                                    <a:lnTo>
                                      <a:pt x="29" y="97"/>
                                    </a:lnTo>
                                    <a:lnTo>
                                      <a:pt x="29" y="96"/>
                                    </a:lnTo>
                                    <a:lnTo>
                                      <a:pt x="29" y="96"/>
                                    </a:lnTo>
                                    <a:lnTo>
                                      <a:pt x="29" y="95"/>
                                    </a:lnTo>
                                    <a:lnTo>
                                      <a:pt x="28" y="95"/>
                                    </a:lnTo>
                                    <a:lnTo>
                                      <a:pt x="28" y="94"/>
                                    </a:lnTo>
                                    <a:lnTo>
                                      <a:pt x="28" y="94"/>
                                    </a:lnTo>
                                    <a:lnTo>
                                      <a:pt x="27" y="93"/>
                                    </a:lnTo>
                                    <a:lnTo>
                                      <a:pt x="26" y="92"/>
                                    </a:lnTo>
                                    <a:lnTo>
                                      <a:pt x="26" y="91"/>
                                    </a:lnTo>
                                    <a:lnTo>
                                      <a:pt x="25" y="91"/>
                                    </a:lnTo>
                                    <a:lnTo>
                                      <a:pt x="25" y="90"/>
                                    </a:lnTo>
                                    <a:lnTo>
                                      <a:pt x="25" y="90"/>
                                    </a:lnTo>
                                    <a:lnTo>
                                      <a:pt x="25" y="88"/>
                                    </a:lnTo>
                                    <a:lnTo>
                                      <a:pt x="25" y="87"/>
                                    </a:lnTo>
                                    <a:lnTo>
                                      <a:pt x="24" y="85"/>
                                    </a:lnTo>
                                    <a:lnTo>
                                      <a:pt x="24" y="84"/>
                                    </a:lnTo>
                                    <a:lnTo>
                                      <a:pt x="24" y="83"/>
                                    </a:lnTo>
                                    <a:lnTo>
                                      <a:pt x="25" y="82"/>
                                    </a:lnTo>
                                    <a:lnTo>
                                      <a:pt x="25" y="80"/>
                                    </a:lnTo>
                                    <a:lnTo>
                                      <a:pt x="25" y="79"/>
                                    </a:lnTo>
                                    <a:lnTo>
                                      <a:pt x="25" y="78"/>
                                    </a:lnTo>
                                    <a:lnTo>
                                      <a:pt x="26" y="76"/>
                                    </a:lnTo>
                                    <a:lnTo>
                                      <a:pt x="26" y="74"/>
                                    </a:lnTo>
                                    <a:lnTo>
                                      <a:pt x="27" y="72"/>
                                    </a:lnTo>
                                    <a:lnTo>
                                      <a:pt x="28" y="70"/>
                                    </a:lnTo>
                                    <a:lnTo>
                                      <a:pt x="28" y="69"/>
                                    </a:lnTo>
                                    <a:lnTo>
                                      <a:pt x="28" y="69"/>
                                    </a:lnTo>
                                    <a:lnTo>
                                      <a:pt x="27" y="68"/>
                                    </a:lnTo>
                                    <a:lnTo>
                                      <a:pt x="27" y="68"/>
                                    </a:lnTo>
                                    <a:lnTo>
                                      <a:pt x="26" y="67"/>
                                    </a:lnTo>
                                    <a:lnTo>
                                      <a:pt x="25" y="67"/>
                                    </a:lnTo>
                                    <a:lnTo>
                                      <a:pt x="24" y="66"/>
                                    </a:lnTo>
                                    <a:lnTo>
                                      <a:pt x="23" y="66"/>
                                    </a:lnTo>
                                    <a:lnTo>
                                      <a:pt x="22" y="65"/>
                                    </a:lnTo>
                                    <a:lnTo>
                                      <a:pt x="21" y="65"/>
                                    </a:lnTo>
                                    <a:lnTo>
                                      <a:pt x="20" y="65"/>
                                    </a:lnTo>
                                    <a:lnTo>
                                      <a:pt x="19" y="65"/>
                                    </a:lnTo>
                                    <a:lnTo>
                                      <a:pt x="18" y="65"/>
                                    </a:lnTo>
                                    <a:lnTo>
                                      <a:pt x="17" y="65"/>
                                    </a:lnTo>
                                    <a:lnTo>
                                      <a:pt x="16" y="65"/>
                                    </a:lnTo>
                                    <a:lnTo>
                                      <a:pt x="16" y="66"/>
                                    </a:lnTo>
                                    <a:lnTo>
                                      <a:pt x="15" y="66"/>
                                    </a:lnTo>
                                    <a:lnTo>
                                      <a:pt x="15" y="66"/>
                                    </a:lnTo>
                                    <a:lnTo>
                                      <a:pt x="14" y="66"/>
                                    </a:lnTo>
                                    <a:lnTo>
                                      <a:pt x="14" y="66"/>
                                    </a:lnTo>
                                    <a:lnTo>
                                      <a:pt x="13" y="65"/>
                                    </a:lnTo>
                                    <a:lnTo>
                                      <a:pt x="12" y="64"/>
                                    </a:lnTo>
                                    <a:lnTo>
                                      <a:pt x="11" y="63"/>
                                    </a:lnTo>
                                    <a:lnTo>
                                      <a:pt x="10" y="62"/>
                                    </a:lnTo>
                                    <a:lnTo>
                                      <a:pt x="10" y="60"/>
                                    </a:lnTo>
                                    <a:lnTo>
                                      <a:pt x="8" y="58"/>
                                    </a:lnTo>
                                    <a:lnTo>
                                      <a:pt x="8" y="57"/>
                                    </a:lnTo>
                                    <a:lnTo>
                                      <a:pt x="7" y="55"/>
                                    </a:lnTo>
                                    <a:lnTo>
                                      <a:pt x="6" y="54"/>
                                    </a:lnTo>
                                    <a:lnTo>
                                      <a:pt x="5" y="54"/>
                                    </a:lnTo>
                                    <a:lnTo>
                                      <a:pt x="4" y="53"/>
                                    </a:lnTo>
                                    <a:lnTo>
                                      <a:pt x="4" y="52"/>
                                    </a:lnTo>
                                    <a:lnTo>
                                      <a:pt x="3" y="52"/>
                                    </a:lnTo>
                                    <a:lnTo>
                                      <a:pt x="2" y="52"/>
                                    </a:lnTo>
                                    <a:lnTo>
                                      <a:pt x="2" y="52"/>
                                    </a:lnTo>
                                    <a:lnTo>
                                      <a:pt x="1" y="51"/>
                                    </a:lnTo>
                                    <a:lnTo>
                                      <a:pt x="0" y="51"/>
                                    </a:lnTo>
                                    <a:lnTo>
                                      <a:pt x="0" y="51"/>
                                    </a:lnTo>
                                    <a:lnTo>
                                      <a:pt x="0" y="51"/>
                                    </a:lnTo>
                                    <a:lnTo>
                                      <a:pt x="0" y="50"/>
                                    </a:lnTo>
                                    <a:lnTo>
                                      <a:pt x="0" y="50"/>
                                    </a:lnTo>
                                    <a:lnTo>
                                      <a:pt x="0" y="49"/>
                                    </a:lnTo>
                                    <a:lnTo>
                                      <a:pt x="0" y="48"/>
                                    </a:lnTo>
                                    <a:lnTo>
                                      <a:pt x="1" y="47"/>
                                    </a:lnTo>
                                    <a:lnTo>
                                      <a:pt x="1" y="46"/>
                                    </a:lnTo>
                                    <a:lnTo>
                                      <a:pt x="2" y="46"/>
                                    </a:lnTo>
                                    <a:lnTo>
                                      <a:pt x="2" y="45"/>
                                    </a:lnTo>
                                    <a:lnTo>
                                      <a:pt x="3" y="43"/>
                                    </a:lnTo>
                                    <a:lnTo>
                                      <a:pt x="4" y="42"/>
                                    </a:lnTo>
                                    <a:lnTo>
                                      <a:pt x="5" y="41"/>
                                    </a:lnTo>
                                    <a:lnTo>
                                      <a:pt x="5" y="40"/>
                                    </a:lnTo>
                                    <a:lnTo>
                                      <a:pt x="6" y="40"/>
                                    </a:lnTo>
                                    <a:lnTo>
                                      <a:pt x="6" y="39"/>
                                    </a:lnTo>
                                    <a:lnTo>
                                      <a:pt x="7" y="38"/>
                                    </a:lnTo>
                                    <a:lnTo>
                                      <a:pt x="10" y="38"/>
                                    </a:lnTo>
                                    <a:lnTo>
                                      <a:pt x="12" y="38"/>
                                    </a:lnTo>
                                    <a:lnTo>
                                      <a:pt x="15" y="38"/>
                                    </a:lnTo>
                                    <a:lnTo>
                                      <a:pt x="18" y="38"/>
                                    </a:lnTo>
                                    <a:lnTo>
                                      <a:pt x="19" y="37"/>
                                    </a:lnTo>
                                    <a:lnTo>
                                      <a:pt x="20" y="36"/>
                                    </a:lnTo>
                                    <a:lnTo>
                                      <a:pt x="21" y="35"/>
                                    </a:lnTo>
                                    <a:lnTo>
                                      <a:pt x="22" y="33"/>
                                    </a:lnTo>
                                    <a:lnTo>
                                      <a:pt x="23" y="31"/>
                                    </a:lnTo>
                                    <a:lnTo>
                                      <a:pt x="25" y="28"/>
                                    </a:lnTo>
                                    <a:lnTo>
                                      <a:pt x="25" y="27"/>
                                    </a:lnTo>
                                    <a:lnTo>
                                      <a:pt x="25" y="26"/>
                                    </a:lnTo>
                                    <a:lnTo>
                                      <a:pt x="25" y="25"/>
                                    </a:lnTo>
                                    <a:lnTo>
                                      <a:pt x="25" y="24"/>
                                    </a:lnTo>
                                    <a:lnTo>
                                      <a:pt x="25" y="23"/>
                                    </a:lnTo>
                                    <a:lnTo>
                                      <a:pt x="25" y="23"/>
                                    </a:lnTo>
                                    <a:lnTo>
                                      <a:pt x="25" y="21"/>
                                    </a:lnTo>
                                    <a:lnTo>
                                      <a:pt x="24" y="21"/>
                                    </a:lnTo>
                                    <a:lnTo>
                                      <a:pt x="24" y="20"/>
                                    </a:lnTo>
                                    <a:lnTo>
                                      <a:pt x="24" y="19"/>
                                    </a:lnTo>
                                    <a:lnTo>
                                      <a:pt x="24" y="18"/>
                                    </a:lnTo>
                                    <a:lnTo>
                                      <a:pt x="24" y="18"/>
                                    </a:lnTo>
                                    <a:lnTo>
                                      <a:pt x="24" y="17"/>
                                    </a:lnTo>
                                    <a:lnTo>
                                      <a:pt x="24" y="17"/>
                                    </a:lnTo>
                                    <a:lnTo>
                                      <a:pt x="25" y="17"/>
                                    </a:lnTo>
                                    <a:lnTo>
                                      <a:pt x="25" y="16"/>
                                    </a:lnTo>
                                    <a:lnTo>
                                      <a:pt x="25" y="16"/>
                                    </a:lnTo>
                                  </a:path>
                                </a:pathLst>
                              </a:custGeom>
                              <a:solidFill>
                                <a:schemeClr val="accent1">
                                  <a:lumMod val="60000"/>
                                  <a:lumOff val="40000"/>
                                </a:schemeClr>
                              </a:solidFill>
                              <a:ln w="3175">
                                <a:solidFill>
                                  <a:srgbClr val="9DC3E6"/>
                                </a:solidFill>
                              </a:ln>
                            </p:spPr>
                            <p:style>
                              <a:lnRef idx="2">
                                <a:schemeClr val="accent1">
                                  <a:shade val="50000"/>
                                </a:schemeClr>
                              </a:lnRef>
                              <a:fillRef idx="1">
                                <a:schemeClr val="accent1"/>
                              </a:fillRef>
                              <a:effectRef idx="0">
                                <a:schemeClr val="accent1"/>
                              </a:effectRef>
                              <a:fontRef idx="minor">
                                <a:schemeClr val="lt1"/>
                              </a:fontRef>
                            </p:style>
                            <p:txBody>
                              <a:bodyPr lIns="104000" tIns="104000" rIns="104000" bIns="104000" anchor="ctr"/>
                              <a:lstStyle/>
                              <a:p>
                                <a:pPr algn="ctr" defTabSz="457200">
                                  <a:lnSpc>
                                    <a:spcPct val="90000"/>
                                  </a:lnSpc>
                                  <a:buClr>
                                    <a:srgbClr val="0563C1"/>
                                  </a:buClr>
                                  <a:buSzPct val="110000"/>
                                  <a:defRPr/>
                                </a:pPr>
                                <a:endParaRPr lang="en-US" sz="1050" dirty="0">
                                  <a:solidFill>
                                    <a:prstClr val="white"/>
                                  </a:solidFill>
                                </a:endParaRPr>
                              </a:p>
                            </p:txBody>
                          </p:sp>
                          <p:sp>
                            <p:nvSpPr>
                              <p:cNvPr id="138" name="Freeform 8"/>
                              <p:cNvSpPr>
                                <a:spLocks/>
                              </p:cNvSpPr>
                              <p:nvPr/>
                            </p:nvSpPr>
                            <p:spPr bwMode="auto">
                              <a:xfrm>
                                <a:off x="3607949" y="2667042"/>
                                <a:ext cx="3017967" cy="1839382"/>
                              </a:xfrm>
                              <a:custGeom>
                                <a:avLst/>
                                <a:gdLst/>
                                <a:ahLst/>
                                <a:cxnLst>
                                  <a:cxn ang="0">
                                    <a:pos x="218" y="2"/>
                                  </a:cxn>
                                  <a:cxn ang="0">
                                    <a:pos x="219" y="9"/>
                                  </a:cxn>
                                  <a:cxn ang="0">
                                    <a:pos x="232" y="15"/>
                                  </a:cxn>
                                  <a:cxn ang="0">
                                    <a:pos x="242" y="23"/>
                                  </a:cxn>
                                  <a:cxn ang="0">
                                    <a:pos x="241" y="28"/>
                                  </a:cxn>
                                  <a:cxn ang="0">
                                    <a:pos x="244" y="29"/>
                                  </a:cxn>
                                  <a:cxn ang="0">
                                    <a:pos x="250" y="22"/>
                                  </a:cxn>
                                  <a:cxn ang="0">
                                    <a:pos x="264" y="20"/>
                                  </a:cxn>
                                  <a:cxn ang="0">
                                    <a:pos x="271" y="9"/>
                                  </a:cxn>
                                  <a:cxn ang="0">
                                    <a:pos x="282" y="6"/>
                                  </a:cxn>
                                  <a:cxn ang="0">
                                    <a:pos x="293" y="17"/>
                                  </a:cxn>
                                  <a:cxn ang="0">
                                    <a:pos x="291" y="27"/>
                                  </a:cxn>
                                  <a:cxn ang="0">
                                    <a:pos x="285" y="35"/>
                                  </a:cxn>
                                  <a:cxn ang="0">
                                    <a:pos x="286" y="40"/>
                                  </a:cxn>
                                  <a:cxn ang="0">
                                    <a:pos x="290" y="50"/>
                                  </a:cxn>
                                  <a:cxn ang="0">
                                    <a:pos x="292" y="64"/>
                                  </a:cxn>
                                  <a:cxn ang="0">
                                    <a:pos x="295" y="70"/>
                                  </a:cxn>
                                  <a:cxn ang="0">
                                    <a:pos x="290" y="79"/>
                                  </a:cxn>
                                  <a:cxn ang="0">
                                    <a:pos x="293" y="84"/>
                                  </a:cxn>
                                  <a:cxn ang="0">
                                    <a:pos x="298" y="92"/>
                                  </a:cxn>
                                  <a:cxn ang="0">
                                    <a:pos x="293" y="96"/>
                                  </a:cxn>
                                  <a:cxn ang="0">
                                    <a:pos x="291" y="110"/>
                                  </a:cxn>
                                  <a:cxn ang="0">
                                    <a:pos x="296" y="115"/>
                                  </a:cxn>
                                  <a:cxn ang="0">
                                    <a:pos x="303" y="114"/>
                                  </a:cxn>
                                  <a:cxn ang="0">
                                    <a:pos x="304" y="120"/>
                                  </a:cxn>
                                  <a:cxn ang="0">
                                    <a:pos x="299" y="129"/>
                                  </a:cxn>
                                  <a:cxn ang="0">
                                    <a:pos x="256" y="134"/>
                                  </a:cxn>
                                  <a:cxn ang="0">
                                    <a:pos x="237" y="146"/>
                                  </a:cxn>
                                  <a:cxn ang="0">
                                    <a:pos x="229" y="159"/>
                                  </a:cxn>
                                  <a:cxn ang="0">
                                    <a:pos x="193" y="169"/>
                                  </a:cxn>
                                  <a:cxn ang="0">
                                    <a:pos x="131" y="172"/>
                                  </a:cxn>
                                  <a:cxn ang="0">
                                    <a:pos x="123" y="169"/>
                                  </a:cxn>
                                  <a:cxn ang="0">
                                    <a:pos x="92" y="169"/>
                                  </a:cxn>
                                  <a:cxn ang="0">
                                    <a:pos x="73" y="168"/>
                                  </a:cxn>
                                  <a:cxn ang="0">
                                    <a:pos x="46" y="165"/>
                                  </a:cxn>
                                  <a:cxn ang="0">
                                    <a:pos x="20" y="148"/>
                                  </a:cxn>
                                  <a:cxn ang="0">
                                    <a:pos x="4" y="142"/>
                                  </a:cxn>
                                  <a:cxn ang="0">
                                    <a:pos x="3" y="130"/>
                                  </a:cxn>
                                  <a:cxn ang="0">
                                    <a:pos x="20" y="119"/>
                                  </a:cxn>
                                  <a:cxn ang="0">
                                    <a:pos x="26" y="109"/>
                                  </a:cxn>
                                  <a:cxn ang="0">
                                    <a:pos x="24" y="101"/>
                                  </a:cxn>
                                  <a:cxn ang="0">
                                    <a:pos x="30" y="94"/>
                                  </a:cxn>
                                  <a:cxn ang="0">
                                    <a:pos x="42" y="81"/>
                                  </a:cxn>
                                  <a:cxn ang="0">
                                    <a:pos x="55" y="82"/>
                                  </a:cxn>
                                  <a:cxn ang="0">
                                    <a:pos x="70" y="72"/>
                                  </a:cxn>
                                  <a:cxn ang="0">
                                    <a:pos x="73" y="66"/>
                                  </a:cxn>
                                  <a:cxn ang="0">
                                    <a:pos x="81" y="56"/>
                                  </a:cxn>
                                  <a:cxn ang="0">
                                    <a:pos x="99" y="37"/>
                                  </a:cxn>
                                  <a:cxn ang="0">
                                    <a:pos x="103" y="29"/>
                                  </a:cxn>
                                  <a:cxn ang="0">
                                    <a:pos x="107" y="24"/>
                                  </a:cxn>
                                  <a:cxn ang="0">
                                    <a:pos x="115" y="21"/>
                                  </a:cxn>
                                  <a:cxn ang="0">
                                    <a:pos x="123" y="27"/>
                                  </a:cxn>
                                  <a:cxn ang="0">
                                    <a:pos x="128" y="29"/>
                                  </a:cxn>
                                  <a:cxn ang="0">
                                    <a:pos x="133" y="35"/>
                                  </a:cxn>
                                  <a:cxn ang="0">
                                    <a:pos x="148" y="37"/>
                                  </a:cxn>
                                  <a:cxn ang="0">
                                    <a:pos x="157" y="29"/>
                                  </a:cxn>
                                  <a:cxn ang="0">
                                    <a:pos x="164" y="22"/>
                                  </a:cxn>
                                  <a:cxn ang="0">
                                    <a:pos x="171" y="20"/>
                                  </a:cxn>
                                  <a:cxn ang="0">
                                    <a:pos x="174" y="27"/>
                                  </a:cxn>
                                  <a:cxn ang="0">
                                    <a:pos x="182" y="26"/>
                                  </a:cxn>
                                  <a:cxn ang="0">
                                    <a:pos x="186" y="20"/>
                                  </a:cxn>
                                  <a:cxn ang="0">
                                    <a:pos x="192" y="15"/>
                                  </a:cxn>
                                  <a:cxn ang="0">
                                    <a:pos x="204" y="6"/>
                                  </a:cxn>
                                </a:cxnLst>
                                <a:rect l="0" t="0" r="r" b="b"/>
                                <a:pathLst>
                                  <a:path w="304" h="172">
                                    <a:moveTo>
                                      <a:pt x="215" y="0"/>
                                    </a:moveTo>
                                    <a:lnTo>
                                      <a:pt x="215" y="0"/>
                                    </a:lnTo>
                                    <a:lnTo>
                                      <a:pt x="215" y="0"/>
                                    </a:lnTo>
                                    <a:lnTo>
                                      <a:pt x="215" y="0"/>
                                    </a:lnTo>
                                    <a:lnTo>
                                      <a:pt x="216" y="0"/>
                                    </a:lnTo>
                                    <a:lnTo>
                                      <a:pt x="216" y="0"/>
                                    </a:lnTo>
                                    <a:lnTo>
                                      <a:pt x="216" y="0"/>
                                    </a:lnTo>
                                    <a:lnTo>
                                      <a:pt x="217" y="1"/>
                                    </a:lnTo>
                                    <a:lnTo>
                                      <a:pt x="217" y="2"/>
                                    </a:lnTo>
                                    <a:lnTo>
                                      <a:pt x="218" y="2"/>
                                    </a:lnTo>
                                    <a:lnTo>
                                      <a:pt x="218" y="3"/>
                                    </a:lnTo>
                                    <a:lnTo>
                                      <a:pt x="218" y="4"/>
                                    </a:lnTo>
                                    <a:lnTo>
                                      <a:pt x="219" y="4"/>
                                    </a:lnTo>
                                    <a:lnTo>
                                      <a:pt x="219" y="5"/>
                                    </a:lnTo>
                                    <a:lnTo>
                                      <a:pt x="219" y="6"/>
                                    </a:lnTo>
                                    <a:lnTo>
                                      <a:pt x="219" y="6"/>
                                    </a:lnTo>
                                    <a:lnTo>
                                      <a:pt x="219" y="7"/>
                                    </a:lnTo>
                                    <a:lnTo>
                                      <a:pt x="219" y="8"/>
                                    </a:lnTo>
                                    <a:lnTo>
                                      <a:pt x="219" y="9"/>
                                    </a:lnTo>
                                    <a:lnTo>
                                      <a:pt x="219" y="9"/>
                                    </a:lnTo>
                                    <a:lnTo>
                                      <a:pt x="219" y="10"/>
                                    </a:lnTo>
                                    <a:lnTo>
                                      <a:pt x="218" y="11"/>
                                    </a:lnTo>
                                    <a:lnTo>
                                      <a:pt x="218" y="12"/>
                                    </a:lnTo>
                                    <a:lnTo>
                                      <a:pt x="220" y="12"/>
                                    </a:lnTo>
                                    <a:lnTo>
                                      <a:pt x="221" y="13"/>
                                    </a:lnTo>
                                    <a:lnTo>
                                      <a:pt x="223" y="13"/>
                                    </a:lnTo>
                                    <a:lnTo>
                                      <a:pt x="224" y="13"/>
                                    </a:lnTo>
                                    <a:lnTo>
                                      <a:pt x="227" y="14"/>
                                    </a:lnTo>
                                    <a:lnTo>
                                      <a:pt x="231" y="15"/>
                                    </a:lnTo>
                                    <a:lnTo>
                                      <a:pt x="232" y="15"/>
                                    </a:lnTo>
                                    <a:lnTo>
                                      <a:pt x="234" y="16"/>
                                    </a:lnTo>
                                    <a:lnTo>
                                      <a:pt x="235" y="17"/>
                                    </a:lnTo>
                                    <a:lnTo>
                                      <a:pt x="237" y="17"/>
                                    </a:lnTo>
                                    <a:lnTo>
                                      <a:pt x="238" y="18"/>
                                    </a:lnTo>
                                    <a:lnTo>
                                      <a:pt x="239" y="19"/>
                                    </a:lnTo>
                                    <a:lnTo>
                                      <a:pt x="240" y="20"/>
                                    </a:lnTo>
                                    <a:lnTo>
                                      <a:pt x="241" y="21"/>
                                    </a:lnTo>
                                    <a:lnTo>
                                      <a:pt x="241" y="21"/>
                                    </a:lnTo>
                                    <a:lnTo>
                                      <a:pt x="242" y="22"/>
                                    </a:lnTo>
                                    <a:lnTo>
                                      <a:pt x="242" y="23"/>
                                    </a:lnTo>
                                    <a:lnTo>
                                      <a:pt x="242" y="24"/>
                                    </a:lnTo>
                                    <a:lnTo>
                                      <a:pt x="242" y="25"/>
                                    </a:lnTo>
                                    <a:lnTo>
                                      <a:pt x="242" y="25"/>
                                    </a:lnTo>
                                    <a:lnTo>
                                      <a:pt x="241" y="26"/>
                                    </a:lnTo>
                                    <a:lnTo>
                                      <a:pt x="241" y="26"/>
                                    </a:lnTo>
                                    <a:lnTo>
                                      <a:pt x="241" y="27"/>
                                    </a:lnTo>
                                    <a:lnTo>
                                      <a:pt x="241" y="27"/>
                                    </a:lnTo>
                                    <a:lnTo>
                                      <a:pt x="241" y="28"/>
                                    </a:lnTo>
                                    <a:lnTo>
                                      <a:pt x="241" y="28"/>
                                    </a:lnTo>
                                    <a:lnTo>
                                      <a:pt x="241" y="28"/>
                                    </a:lnTo>
                                    <a:lnTo>
                                      <a:pt x="242" y="28"/>
                                    </a:lnTo>
                                    <a:lnTo>
                                      <a:pt x="242" y="28"/>
                                    </a:lnTo>
                                    <a:lnTo>
                                      <a:pt x="242" y="29"/>
                                    </a:lnTo>
                                    <a:lnTo>
                                      <a:pt x="242" y="29"/>
                                    </a:lnTo>
                                    <a:lnTo>
                                      <a:pt x="243" y="29"/>
                                    </a:lnTo>
                                    <a:lnTo>
                                      <a:pt x="243" y="29"/>
                                    </a:lnTo>
                                    <a:lnTo>
                                      <a:pt x="243" y="29"/>
                                    </a:lnTo>
                                    <a:lnTo>
                                      <a:pt x="244" y="29"/>
                                    </a:lnTo>
                                    <a:lnTo>
                                      <a:pt x="244" y="29"/>
                                    </a:lnTo>
                                    <a:lnTo>
                                      <a:pt x="244" y="29"/>
                                    </a:lnTo>
                                    <a:lnTo>
                                      <a:pt x="244" y="29"/>
                                    </a:lnTo>
                                    <a:lnTo>
                                      <a:pt x="245" y="28"/>
                                    </a:lnTo>
                                    <a:lnTo>
                                      <a:pt x="245" y="28"/>
                                    </a:lnTo>
                                    <a:lnTo>
                                      <a:pt x="246" y="27"/>
                                    </a:lnTo>
                                    <a:lnTo>
                                      <a:pt x="246" y="27"/>
                                    </a:lnTo>
                                    <a:lnTo>
                                      <a:pt x="247" y="26"/>
                                    </a:lnTo>
                                    <a:lnTo>
                                      <a:pt x="248" y="25"/>
                                    </a:lnTo>
                                    <a:lnTo>
                                      <a:pt x="248" y="24"/>
                                    </a:lnTo>
                                    <a:lnTo>
                                      <a:pt x="249" y="23"/>
                                    </a:lnTo>
                                    <a:lnTo>
                                      <a:pt x="250" y="22"/>
                                    </a:lnTo>
                                    <a:lnTo>
                                      <a:pt x="250" y="22"/>
                                    </a:lnTo>
                                    <a:lnTo>
                                      <a:pt x="251" y="21"/>
                                    </a:lnTo>
                                    <a:lnTo>
                                      <a:pt x="252" y="21"/>
                                    </a:lnTo>
                                    <a:lnTo>
                                      <a:pt x="252" y="21"/>
                                    </a:lnTo>
                                    <a:lnTo>
                                      <a:pt x="253" y="20"/>
                                    </a:lnTo>
                                    <a:lnTo>
                                      <a:pt x="253" y="20"/>
                                    </a:lnTo>
                                    <a:lnTo>
                                      <a:pt x="258" y="20"/>
                                    </a:lnTo>
                                    <a:lnTo>
                                      <a:pt x="263" y="20"/>
                                    </a:lnTo>
                                    <a:lnTo>
                                      <a:pt x="264" y="20"/>
                                    </a:lnTo>
                                    <a:lnTo>
                                      <a:pt x="264" y="20"/>
                                    </a:lnTo>
                                    <a:lnTo>
                                      <a:pt x="265" y="19"/>
                                    </a:lnTo>
                                    <a:lnTo>
                                      <a:pt x="266" y="18"/>
                                    </a:lnTo>
                                    <a:lnTo>
                                      <a:pt x="267" y="17"/>
                                    </a:lnTo>
                                    <a:lnTo>
                                      <a:pt x="268" y="16"/>
                                    </a:lnTo>
                                    <a:lnTo>
                                      <a:pt x="268" y="15"/>
                                    </a:lnTo>
                                    <a:lnTo>
                                      <a:pt x="269" y="14"/>
                                    </a:lnTo>
                                    <a:lnTo>
                                      <a:pt x="270" y="13"/>
                                    </a:lnTo>
                                    <a:lnTo>
                                      <a:pt x="270" y="12"/>
                                    </a:lnTo>
                                    <a:lnTo>
                                      <a:pt x="271" y="10"/>
                                    </a:lnTo>
                                    <a:lnTo>
                                      <a:pt x="271" y="9"/>
                                    </a:lnTo>
                                    <a:lnTo>
                                      <a:pt x="272" y="8"/>
                                    </a:lnTo>
                                    <a:lnTo>
                                      <a:pt x="273" y="7"/>
                                    </a:lnTo>
                                    <a:lnTo>
                                      <a:pt x="274" y="7"/>
                                    </a:lnTo>
                                    <a:lnTo>
                                      <a:pt x="274" y="6"/>
                                    </a:lnTo>
                                    <a:lnTo>
                                      <a:pt x="275" y="6"/>
                                    </a:lnTo>
                                    <a:lnTo>
                                      <a:pt x="276" y="6"/>
                                    </a:lnTo>
                                    <a:lnTo>
                                      <a:pt x="276" y="5"/>
                                    </a:lnTo>
                                    <a:lnTo>
                                      <a:pt x="278" y="5"/>
                                    </a:lnTo>
                                    <a:lnTo>
                                      <a:pt x="280" y="6"/>
                                    </a:lnTo>
                                    <a:lnTo>
                                      <a:pt x="282" y="6"/>
                                    </a:lnTo>
                                    <a:lnTo>
                                      <a:pt x="284" y="7"/>
                                    </a:lnTo>
                                    <a:lnTo>
                                      <a:pt x="285" y="7"/>
                                    </a:lnTo>
                                    <a:lnTo>
                                      <a:pt x="287" y="8"/>
                                    </a:lnTo>
                                    <a:lnTo>
                                      <a:pt x="288" y="9"/>
                                    </a:lnTo>
                                    <a:lnTo>
                                      <a:pt x="289" y="10"/>
                                    </a:lnTo>
                                    <a:lnTo>
                                      <a:pt x="290" y="11"/>
                                    </a:lnTo>
                                    <a:lnTo>
                                      <a:pt x="291" y="12"/>
                                    </a:lnTo>
                                    <a:lnTo>
                                      <a:pt x="292" y="14"/>
                                    </a:lnTo>
                                    <a:lnTo>
                                      <a:pt x="293" y="15"/>
                                    </a:lnTo>
                                    <a:lnTo>
                                      <a:pt x="293" y="17"/>
                                    </a:lnTo>
                                    <a:lnTo>
                                      <a:pt x="294" y="19"/>
                                    </a:lnTo>
                                    <a:lnTo>
                                      <a:pt x="294" y="20"/>
                                    </a:lnTo>
                                    <a:lnTo>
                                      <a:pt x="294" y="22"/>
                                    </a:lnTo>
                                    <a:lnTo>
                                      <a:pt x="294" y="23"/>
                                    </a:lnTo>
                                    <a:lnTo>
                                      <a:pt x="293" y="23"/>
                                    </a:lnTo>
                                    <a:lnTo>
                                      <a:pt x="293" y="24"/>
                                    </a:lnTo>
                                    <a:lnTo>
                                      <a:pt x="292" y="24"/>
                                    </a:lnTo>
                                    <a:lnTo>
                                      <a:pt x="292" y="25"/>
                                    </a:lnTo>
                                    <a:lnTo>
                                      <a:pt x="291" y="25"/>
                                    </a:lnTo>
                                    <a:lnTo>
                                      <a:pt x="291" y="27"/>
                                    </a:lnTo>
                                    <a:lnTo>
                                      <a:pt x="290" y="28"/>
                                    </a:lnTo>
                                    <a:lnTo>
                                      <a:pt x="289" y="29"/>
                                    </a:lnTo>
                                    <a:lnTo>
                                      <a:pt x="289" y="31"/>
                                    </a:lnTo>
                                    <a:lnTo>
                                      <a:pt x="288" y="31"/>
                                    </a:lnTo>
                                    <a:lnTo>
                                      <a:pt x="288" y="32"/>
                                    </a:lnTo>
                                    <a:lnTo>
                                      <a:pt x="288" y="32"/>
                                    </a:lnTo>
                                    <a:lnTo>
                                      <a:pt x="287" y="33"/>
                                    </a:lnTo>
                                    <a:lnTo>
                                      <a:pt x="286" y="33"/>
                                    </a:lnTo>
                                    <a:lnTo>
                                      <a:pt x="285" y="34"/>
                                    </a:lnTo>
                                    <a:lnTo>
                                      <a:pt x="285" y="35"/>
                                    </a:lnTo>
                                    <a:lnTo>
                                      <a:pt x="284" y="35"/>
                                    </a:lnTo>
                                    <a:lnTo>
                                      <a:pt x="284" y="35"/>
                                    </a:lnTo>
                                    <a:lnTo>
                                      <a:pt x="284" y="36"/>
                                    </a:lnTo>
                                    <a:lnTo>
                                      <a:pt x="284" y="36"/>
                                    </a:lnTo>
                                    <a:lnTo>
                                      <a:pt x="284" y="37"/>
                                    </a:lnTo>
                                    <a:lnTo>
                                      <a:pt x="284" y="37"/>
                                    </a:lnTo>
                                    <a:lnTo>
                                      <a:pt x="284" y="38"/>
                                    </a:lnTo>
                                    <a:lnTo>
                                      <a:pt x="284" y="39"/>
                                    </a:lnTo>
                                    <a:lnTo>
                                      <a:pt x="285" y="39"/>
                                    </a:lnTo>
                                    <a:lnTo>
                                      <a:pt x="286" y="40"/>
                                    </a:lnTo>
                                    <a:lnTo>
                                      <a:pt x="287" y="41"/>
                                    </a:lnTo>
                                    <a:lnTo>
                                      <a:pt x="287" y="41"/>
                                    </a:lnTo>
                                    <a:lnTo>
                                      <a:pt x="288" y="42"/>
                                    </a:lnTo>
                                    <a:lnTo>
                                      <a:pt x="288" y="43"/>
                                    </a:lnTo>
                                    <a:lnTo>
                                      <a:pt x="289" y="44"/>
                                    </a:lnTo>
                                    <a:lnTo>
                                      <a:pt x="289" y="44"/>
                                    </a:lnTo>
                                    <a:lnTo>
                                      <a:pt x="289" y="45"/>
                                    </a:lnTo>
                                    <a:lnTo>
                                      <a:pt x="290" y="46"/>
                                    </a:lnTo>
                                    <a:lnTo>
                                      <a:pt x="290" y="48"/>
                                    </a:lnTo>
                                    <a:lnTo>
                                      <a:pt x="290" y="50"/>
                                    </a:lnTo>
                                    <a:lnTo>
                                      <a:pt x="290" y="52"/>
                                    </a:lnTo>
                                    <a:lnTo>
                                      <a:pt x="290" y="54"/>
                                    </a:lnTo>
                                    <a:lnTo>
                                      <a:pt x="291" y="56"/>
                                    </a:lnTo>
                                    <a:lnTo>
                                      <a:pt x="291" y="58"/>
                                    </a:lnTo>
                                    <a:lnTo>
                                      <a:pt x="291" y="60"/>
                                    </a:lnTo>
                                    <a:lnTo>
                                      <a:pt x="291" y="61"/>
                                    </a:lnTo>
                                    <a:lnTo>
                                      <a:pt x="291" y="61"/>
                                    </a:lnTo>
                                    <a:lnTo>
                                      <a:pt x="292" y="62"/>
                                    </a:lnTo>
                                    <a:lnTo>
                                      <a:pt x="292" y="63"/>
                                    </a:lnTo>
                                    <a:lnTo>
                                      <a:pt x="292" y="64"/>
                                    </a:lnTo>
                                    <a:lnTo>
                                      <a:pt x="293" y="65"/>
                                    </a:lnTo>
                                    <a:lnTo>
                                      <a:pt x="293" y="66"/>
                                    </a:lnTo>
                                    <a:lnTo>
                                      <a:pt x="294" y="67"/>
                                    </a:lnTo>
                                    <a:lnTo>
                                      <a:pt x="294" y="68"/>
                                    </a:lnTo>
                                    <a:lnTo>
                                      <a:pt x="294" y="68"/>
                                    </a:lnTo>
                                    <a:lnTo>
                                      <a:pt x="294" y="69"/>
                                    </a:lnTo>
                                    <a:lnTo>
                                      <a:pt x="295" y="69"/>
                                    </a:lnTo>
                                    <a:lnTo>
                                      <a:pt x="295" y="69"/>
                                    </a:lnTo>
                                    <a:lnTo>
                                      <a:pt x="295" y="70"/>
                                    </a:lnTo>
                                    <a:lnTo>
                                      <a:pt x="295" y="70"/>
                                    </a:lnTo>
                                    <a:lnTo>
                                      <a:pt x="294" y="71"/>
                                    </a:lnTo>
                                    <a:lnTo>
                                      <a:pt x="294" y="72"/>
                                    </a:lnTo>
                                    <a:lnTo>
                                      <a:pt x="294" y="73"/>
                                    </a:lnTo>
                                    <a:lnTo>
                                      <a:pt x="293" y="73"/>
                                    </a:lnTo>
                                    <a:lnTo>
                                      <a:pt x="293" y="74"/>
                                    </a:lnTo>
                                    <a:lnTo>
                                      <a:pt x="291" y="76"/>
                                    </a:lnTo>
                                    <a:lnTo>
                                      <a:pt x="291" y="77"/>
                                    </a:lnTo>
                                    <a:lnTo>
                                      <a:pt x="290" y="77"/>
                                    </a:lnTo>
                                    <a:lnTo>
                                      <a:pt x="290" y="78"/>
                                    </a:lnTo>
                                    <a:lnTo>
                                      <a:pt x="290" y="79"/>
                                    </a:lnTo>
                                    <a:lnTo>
                                      <a:pt x="290" y="79"/>
                                    </a:lnTo>
                                    <a:lnTo>
                                      <a:pt x="290" y="80"/>
                                    </a:lnTo>
                                    <a:lnTo>
                                      <a:pt x="290" y="80"/>
                                    </a:lnTo>
                                    <a:lnTo>
                                      <a:pt x="290" y="80"/>
                                    </a:lnTo>
                                    <a:lnTo>
                                      <a:pt x="290" y="81"/>
                                    </a:lnTo>
                                    <a:lnTo>
                                      <a:pt x="290" y="82"/>
                                    </a:lnTo>
                                    <a:lnTo>
                                      <a:pt x="291" y="83"/>
                                    </a:lnTo>
                                    <a:lnTo>
                                      <a:pt x="291" y="83"/>
                                    </a:lnTo>
                                    <a:lnTo>
                                      <a:pt x="292" y="84"/>
                                    </a:lnTo>
                                    <a:lnTo>
                                      <a:pt x="293" y="84"/>
                                    </a:lnTo>
                                    <a:lnTo>
                                      <a:pt x="294" y="85"/>
                                    </a:lnTo>
                                    <a:lnTo>
                                      <a:pt x="295" y="86"/>
                                    </a:lnTo>
                                    <a:lnTo>
                                      <a:pt x="295" y="87"/>
                                    </a:lnTo>
                                    <a:lnTo>
                                      <a:pt x="296" y="87"/>
                                    </a:lnTo>
                                    <a:lnTo>
                                      <a:pt x="297" y="88"/>
                                    </a:lnTo>
                                    <a:lnTo>
                                      <a:pt x="297" y="89"/>
                                    </a:lnTo>
                                    <a:lnTo>
                                      <a:pt x="298" y="90"/>
                                    </a:lnTo>
                                    <a:lnTo>
                                      <a:pt x="298" y="91"/>
                                    </a:lnTo>
                                    <a:lnTo>
                                      <a:pt x="298" y="92"/>
                                    </a:lnTo>
                                    <a:lnTo>
                                      <a:pt x="298" y="92"/>
                                    </a:lnTo>
                                    <a:lnTo>
                                      <a:pt x="298" y="93"/>
                                    </a:lnTo>
                                    <a:lnTo>
                                      <a:pt x="297" y="93"/>
                                    </a:lnTo>
                                    <a:lnTo>
                                      <a:pt x="297" y="94"/>
                                    </a:lnTo>
                                    <a:lnTo>
                                      <a:pt x="296" y="94"/>
                                    </a:lnTo>
                                    <a:lnTo>
                                      <a:pt x="296" y="95"/>
                                    </a:lnTo>
                                    <a:lnTo>
                                      <a:pt x="295" y="95"/>
                                    </a:lnTo>
                                    <a:lnTo>
                                      <a:pt x="295" y="95"/>
                                    </a:lnTo>
                                    <a:lnTo>
                                      <a:pt x="294" y="95"/>
                                    </a:lnTo>
                                    <a:lnTo>
                                      <a:pt x="294" y="95"/>
                                    </a:lnTo>
                                    <a:lnTo>
                                      <a:pt x="293" y="96"/>
                                    </a:lnTo>
                                    <a:lnTo>
                                      <a:pt x="293" y="96"/>
                                    </a:lnTo>
                                    <a:lnTo>
                                      <a:pt x="292" y="96"/>
                                    </a:lnTo>
                                    <a:lnTo>
                                      <a:pt x="292" y="97"/>
                                    </a:lnTo>
                                    <a:lnTo>
                                      <a:pt x="292" y="97"/>
                                    </a:lnTo>
                                    <a:lnTo>
                                      <a:pt x="292" y="98"/>
                                    </a:lnTo>
                                    <a:lnTo>
                                      <a:pt x="292" y="101"/>
                                    </a:lnTo>
                                    <a:lnTo>
                                      <a:pt x="292" y="103"/>
                                    </a:lnTo>
                                    <a:lnTo>
                                      <a:pt x="292" y="105"/>
                                    </a:lnTo>
                                    <a:lnTo>
                                      <a:pt x="291" y="107"/>
                                    </a:lnTo>
                                    <a:lnTo>
                                      <a:pt x="291" y="110"/>
                                    </a:lnTo>
                                    <a:lnTo>
                                      <a:pt x="291" y="112"/>
                                    </a:lnTo>
                                    <a:lnTo>
                                      <a:pt x="291" y="115"/>
                                    </a:lnTo>
                                    <a:lnTo>
                                      <a:pt x="291" y="117"/>
                                    </a:lnTo>
                                    <a:lnTo>
                                      <a:pt x="292" y="117"/>
                                    </a:lnTo>
                                    <a:lnTo>
                                      <a:pt x="293" y="117"/>
                                    </a:lnTo>
                                    <a:lnTo>
                                      <a:pt x="293" y="117"/>
                                    </a:lnTo>
                                    <a:lnTo>
                                      <a:pt x="294" y="116"/>
                                    </a:lnTo>
                                    <a:lnTo>
                                      <a:pt x="295" y="116"/>
                                    </a:lnTo>
                                    <a:lnTo>
                                      <a:pt x="295" y="115"/>
                                    </a:lnTo>
                                    <a:lnTo>
                                      <a:pt x="296" y="115"/>
                                    </a:lnTo>
                                    <a:lnTo>
                                      <a:pt x="297" y="114"/>
                                    </a:lnTo>
                                    <a:lnTo>
                                      <a:pt x="297" y="114"/>
                                    </a:lnTo>
                                    <a:lnTo>
                                      <a:pt x="298" y="114"/>
                                    </a:lnTo>
                                    <a:lnTo>
                                      <a:pt x="299" y="113"/>
                                    </a:lnTo>
                                    <a:lnTo>
                                      <a:pt x="300" y="113"/>
                                    </a:lnTo>
                                    <a:lnTo>
                                      <a:pt x="301" y="113"/>
                                    </a:lnTo>
                                    <a:lnTo>
                                      <a:pt x="302" y="113"/>
                                    </a:lnTo>
                                    <a:lnTo>
                                      <a:pt x="302" y="113"/>
                                    </a:lnTo>
                                    <a:lnTo>
                                      <a:pt x="303" y="114"/>
                                    </a:lnTo>
                                    <a:lnTo>
                                      <a:pt x="303" y="114"/>
                                    </a:lnTo>
                                    <a:lnTo>
                                      <a:pt x="304" y="115"/>
                                    </a:lnTo>
                                    <a:lnTo>
                                      <a:pt x="304" y="116"/>
                                    </a:lnTo>
                                    <a:lnTo>
                                      <a:pt x="304" y="116"/>
                                    </a:lnTo>
                                    <a:lnTo>
                                      <a:pt x="304" y="117"/>
                                    </a:lnTo>
                                    <a:lnTo>
                                      <a:pt x="304" y="117"/>
                                    </a:lnTo>
                                    <a:lnTo>
                                      <a:pt x="304" y="118"/>
                                    </a:lnTo>
                                    <a:lnTo>
                                      <a:pt x="304" y="118"/>
                                    </a:lnTo>
                                    <a:lnTo>
                                      <a:pt x="304" y="119"/>
                                    </a:lnTo>
                                    <a:lnTo>
                                      <a:pt x="304" y="119"/>
                                    </a:lnTo>
                                    <a:lnTo>
                                      <a:pt x="304" y="120"/>
                                    </a:lnTo>
                                    <a:lnTo>
                                      <a:pt x="303" y="121"/>
                                    </a:lnTo>
                                    <a:lnTo>
                                      <a:pt x="302" y="122"/>
                                    </a:lnTo>
                                    <a:lnTo>
                                      <a:pt x="302" y="123"/>
                                    </a:lnTo>
                                    <a:lnTo>
                                      <a:pt x="301" y="124"/>
                                    </a:lnTo>
                                    <a:lnTo>
                                      <a:pt x="300" y="125"/>
                                    </a:lnTo>
                                    <a:lnTo>
                                      <a:pt x="300" y="126"/>
                                    </a:lnTo>
                                    <a:lnTo>
                                      <a:pt x="300" y="127"/>
                                    </a:lnTo>
                                    <a:lnTo>
                                      <a:pt x="300" y="128"/>
                                    </a:lnTo>
                                    <a:lnTo>
                                      <a:pt x="299" y="128"/>
                                    </a:lnTo>
                                    <a:lnTo>
                                      <a:pt x="299" y="129"/>
                                    </a:lnTo>
                                    <a:lnTo>
                                      <a:pt x="299" y="130"/>
                                    </a:lnTo>
                                    <a:lnTo>
                                      <a:pt x="299" y="130"/>
                                    </a:lnTo>
                                    <a:lnTo>
                                      <a:pt x="299" y="131"/>
                                    </a:lnTo>
                                    <a:lnTo>
                                      <a:pt x="299" y="132"/>
                                    </a:lnTo>
                                    <a:lnTo>
                                      <a:pt x="290" y="132"/>
                                    </a:lnTo>
                                    <a:lnTo>
                                      <a:pt x="281" y="132"/>
                                    </a:lnTo>
                                    <a:lnTo>
                                      <a:pt x="272" y="132"/>
                                    </a:lnTo>
                                    <a:lnTo>
                                      <a:pt x="263" y="132"/>
                                    </a:lnTo>
                                    <a:lnTo>
                                      <a:pt x="260" y="133"/>
                                    </a:lnTo>
                                    <a:lnTo>
                                      <a:pt x="256" y="134"/>
                                    </a:lnTo>
                                    <a:lnTo>
                                      <a:pt x="253" y="136"/>
                                    </a:lnTo>
                                    <a:lnTo>
                                      <a:pt x="250" y="137"/>
                                    </a:lnTo>
                                    <a:lnTo>
                                      <a:pt x="247" y="139"/>
                                    </a:lnTo>
                                    <a:lnTo>
                                      <a:pt x="244" y="140"/>
                                    </a:lnTo>
                                    <a:lnTo>
                                      <a:pt x="243" y="141"/>
                                    </a:lnTo>
                                    <a:lnTo>
                                      <a:pt x="242" y="142"/>
                                    </a:lnTo>
                                    <a:lnTo>
                                      <a:pt x="240" y="143"/>
                                    </a:lnTo>
                                    <a:lnTo>
                                      <a:pt x="239" y="144"/>
                                    </a:lnTo>
                                    <a:lnTo>
                                      <a:pt x="238" y="145"/>
                                    </a:lnTo>
                                    <a:lnTo>
                                      <a:pt x="237" y="146"/>
                                    </a:lnTo>
                                    <a:lnTo>
                                      <a:pt x="236" y="147"/>
                                    </a:lnTo>
                                    <a:lnTo>
                                      <a:pt x="235" y="148"/>
                                    </a:lnTo>
                                    <a:lnTo>
                                      <a:pt x="234" y="150"/>
                                    </a:lnTo>
                                    <a:lnTo>
                                      <a:pt x="233" y="151"/>
                                    </a:lnTo>
                                    <a:lnTo>
                                      <a:pt x="232" y="152"/>
                                    </a:lnTo>
                                    <a:lnTo>
                                      <a:pt x="231" y="153"/>
                                    </a:lnTo>
                                    <a:lnTo>
                                      <a:pt x="230" y="155"/>
                                    </a:lnTo>
                                    <a:lnTo>
                                      <a:pt x="230" y="156"/>
                                    </a:lnTo>
                                    <a:lnTo>
                                      <a:pt x="229" y="157"/>
                                    </a:lnTo>
                                    <a:lnTo>
                                      <a:pt x="229" y="159"/>
                                    </a:lnTo>
                                    <a:lnTo>
                                      <a:pt x="228" y="161"/>
                                    </a:lnTo>
                                    <a:lnTo>
                                      <a:pt x="228" y="162"/>
                                    </a:lnTo>
                                    <a:lnTo>
                                      <a:pt x="228" y="164"/>
                                    </a:lnTo>
                                    <a:lnTo>
                                      <a:pt x="228" y="165"/>
                                    </a:lnTo>
                                    <a:lnTo>
                                      <a:pt x="222" y="166"/>
                                    </a:lnTo>
                                    <a:lnTo>
                                      <a:pt x="216" y="167"/>
                                    </a:lnTo>
                                    <a:lnTo>
                                      <a:pt x="211" y="168"/>
                                    </a:lnTo>
                                    <a:lnTo>
                                      <a:pt x="205" y="168"/>
                                    </a:lnTo>
                                    <a:lnTo>
                                      <a:pt x="199" y="169"/>
                                    </a:lnTo>
                                    <a:lnTo>
                                      <a:pt x="193" y="169"/>
                                    </a:lnTo>
                                    <a:lnTo>
                                      <a:pt x="187" y="170"/>
                                    </a:lnTo>
                                    <a:lnTo>
                                      <a:pt x="181" y="171"/>
                                    </a:lnTo>
                                    <a:lnTo>
                                      <a:pt x="175" y="171"/>
                                    </a:lnTo>
                                    <a:lnTo>
                                      <a:pt x="169" y="171"/>
                                    </a:lnTo>
                                    <a:lnTo>
                                      <a:pt x="163" y="172"/>
                                    </a:lnTo>
                                    <a:lnTo>
                                      <a:pt x="157" y="172"/>
                                    </a:lnTo>
                                    <a:lnTo>
                                      <a:pt x="150" y="172"/>
                                    </a:lnTo>
                                    <a:lnTo>
                                      <a:pt x="144" y="172"/>
                                    </a:lnTo>
                                    <a:lnTo>
                                      <a:pt x="138" y="172"/>
                                    </a:lnTo>
                                    <a:lnTo>
                                      <a:pt x="131" y="172"/>
                                    </a:lnTo>
                                    <a:lnTo>
                                      <a:pt x="131" y="171"/>
                                    </a:lnTo>
                                    <a:lnTo>
                                      <a:pt x="131" y="171"/>
                                    </a:lnTo>
                                    <a:lnTo>
                                      <a:pt x="130" y="170"/>
                                    </a:lnTo>
                                    <a:lnTo>
                                      <a:pt x="130" y="170"/>
                                    </a:lnTo>
                                    <a:lnTo>
                                      <a:pt x="130" y="169"/>
                                    </a:lnTo>
                                    <a:lnTo>
                                      <a:pt x="129" y="169"/>
                                    </a:lnTo>
                                    <a:lnTo>
                                      <a:pt x="128" y="169"/>
                                    </a:lnTo>
                                    <a:lnTo>
                                      <a:pt x="128" y="169"/>
                                    </a:lnTo>
                                    <a:lnTo>
                                      <a:pt x="125" y="169"/>
                                    </a:lnTo>
                                    <a:lnTo>
                                      <a:pt x="123" y="169"/>
                                    </a:lnTo>
                                    <a:lnTo>
                                      <a:pt x="120" y="169"/>
                                    </a:lnTo>
                                    <a:lnTo>
                                      <a:pt x="118" y="169"/>
                                    </a:lnTo>
                                    <a:lnTo>
                                      <a:pt x="112" y="168"/>
                                    </a:lnTo>
                                    <a:lnTo>
                                      <a:pt x="107" y="168"/>
                                    </a:lnTo>
                                    <a:lnTo>
                                      <a:pt x="104" y="168"/>
                                    </a:lnTo>
                                    <a:lnTo>
                                      <a:pt x="102" y="168"/>
                                    </a:lnTo>
                                    <a:lnTo>
                                      <a:pt x="99" y="168"/>
                                    </a:lnTo>
                                    <a:lnTo>
                                      <a:pt x="97" y="168"/>
                                    </a:lnTo>
                                    <a:lnTo>
                                      <a:pt x="94" y="169"/>
                                    </a:lnTo>
                                    <a:lnTo>
                                      <a:pt x="92" y="169"/>
                                    </a:lnTo>
                                    <a:lnTo>
                                      <a:pt x="90" y="169"/>
                                    </a:lnTo>
                                    <a:lnTo>
                                      <a:pt x="89" y="170"/>
                                    </a:lnTo>
                                    <a:lnTo>
                                      <a:pt x="88" y="170"/>
                                    </a:lnTo>
                                    <a:lnTo>
                                      <a:pt x="86" y="170"/>
                                    </a:lnTo>
                                    <a:lnTo>
                                      <a:pt x="84" y="169"/>
                                    </a:lnTo>
                                    <a:lnTo>
                                      <a:pt x="82" y="169"/>
                                    </a:lnTo>
                                    <a:lnTo>
                                      <a:pt x="80" y="169"/>
                                    </a:lnTo>
                                    <a:lnTo>
                                      <a:pt x="78" y="168"/>
                                    </a:lnTo>
                                    <a:lnTo>
                                      <a:pt x="75" y="168"/>
                                    </a:lnTo>
                                    <a:lnTo>
                                      <a:pt x="73" y="168"/>
                                    </a:lnTo>
                                    <a:lnTo>
                                      <a:pt x="71" y="168"/>
                                    </a:lnTo>
                                    <a:lnTo>
                                      <a:pt x="66" y="168"/>
                                    </a:lnTo>
                                    <a:lnTo>
                                      <a:pt x="61" y="168"/>
                                    </a:lnTo>
                                    <a:lnTo>
                                      <a:pt x="58" y="169"/>
                                    </a:lnTo>
                                    <a:lnTo>
                                      <a:pt x="56" y="169"/>
                                    </a:lnTo>
                                    <a:lnTo>
                                      <a:pt x="54" y="169"/>
                                    </a:lnTo>
                                    <a:lnTo>
                                      <a:pt x="51" y="169"/>
                                    </a:lnTo>
                                    <a:lnTo>
                                      <a:pt x="50" y="167"/>
                                    </a:lnTo>
                                    <a:lnTo>
                                      <a:pt x="48" y="166"/>
                                    </a:lnTo>
                                    <a:lnTo>
                                      <a:pt x="46" y="165"/>
                                    </a:lnTo>
                                    <a:lnTo>
                                      <a:pt x="44" y="163"/>
                                    </a:lnTo>
                                    <a:lnTo>
                                      <a:pt x="40" y="161"/>
                                    </a:lnTo>
                                    <a:lnTo>
                                      <a:pt x="36" y="158"/>
                                    </a:lnTo>
                                    <a:lnTo>
                                      <a:pt x="33" y="156"/>
                                    </a:lnTo>
                                    <a:lnTo>
                                      <a:pt x="29" y="154"/>
                                    </a:lnTo>
                                    <a:lnTo>
                                      <a:pt x="27" y="152"/>
                                    </a:lnTo>
                                    <a:lnTo>
                                      <a:pt x="25" y="151"/>
                                    </a:lnTo>
                                    <a:lnTo>
                                      <a:pt x="23" y="150"/>
                                    </a:lnTo>
                                    <a:lnTo>
                                      <a:pt x="22" y="149"/>
                                    </a:lnTo>
                                    <a:lnTo>
                                      <a:pt x="20" y="148"/>
                                    </a:lnTo>
                                    <a:lnTo>
                                      <a:pt x="18" y="148"/>
                                    </a:lnTo>
                                    <a:lnTo>
                                      <a:pt x="16" y="148"/>
                                    </a:lnTo>
                                    <a:lnTo>
                                      <a:pt x="14" y="147"/>
                                    </a:lnTo>
                                    <a:lnTo>
                                      <a:pt x="12" y="147"/>
                                    </a:lnTo>
                                    <a:lnTo>
                                      <a:pt x="11" y="146"/>
                                    </a:lnTo>
                                    <a:lnTo>
                                      <a:pt x="9" y="145"/>
                                    </a:lnTo>
                                    <a:lnTo>
                                      <a:pt x="8" y="145"/>
                                    </a:lnTo>
                                    <a:lnTo>
                                      <a:pt x="6" y="144"/>
                                    </a:lnTo>
                                    <a:lnTo>
                                      <a:pt x="5" y="143"/>
                                    </a:lnTo>
                                    <a:lnTo>
                                      <a:pt x="4" y="142"/>
                                    </a:lnTo>
                                    <a:lnTo>
                                      <a:pt x="3" y="141"/>
                                    </a:lnTo>
                                    <a:lnTo>
                                      <a:pt x="2" y="140"/>
                                    </a:lnTo>
                                    <a:lnTo>
                                      <a:pt x="1" y="138"/>
                                    </a:lnTo>
                                    <a:lnTo>
                                      <a:pt x="0" y="137"/>
                                    </a:lnTo>
                                    <a:lnTo>
                                      <a:pt x="0" y="135"/>
                                    </a:lnTo>
                                    <a:lnTo>
                                      <a:pt x="0" y="134"/>
                                    </a:lnTo>
                                    <a:lnTo>
                                      <a:pt x="1" y="133"/>
                                    </a:lnTo>
                                    <a:lnTo>
                                      <a:pt x="2" y="132"/>
                                    </a:lnTo>
                                    <a:lnTo>
                                      <a:pt x="2" y="131"/>
                                    </a:lnTo>
                                    <a:lnTo>
                                      <a:pt x="3" y="130"/>
                                    </a:lnTo>
                                    <a:lnTo>
                                      <a:pt x="4" y="130"/>
                                    </a:lnTo>
                                    <a:lnTo>
                                      <a:pt x="5" y="129"/>
                                    </a:lnTo>
                                    <a:lnTo>
                                      <a:pt x="6" y="128"/>
                                    </a:lnTo>
                                    <a:lnTo>
                                      <a:pt x="8" y="127"/>
                                    </a:lnTo>
                                    <a:lnTo>
                                      <a:pt x="10" y="126"/>
                                    </a:lnTo>
                                    <a:lnTo>
                                      <a:pt x="12" y="124"/>
                                    </a:lnTo>
                                    <a:lnTo>
                                      <a:pt x="14" y="123"/>
                                    </a:lnTo>
                                    <a:lnTo>
                                      <a:pt x="16" y="122"/>
                                    </a:lnTo>
                                    <a:lnTo>
                                      <a:pt x="18" y="120"/>
                                    </a:lnTo>
                                    <a:lnTo>
                                      <a:pt x="20" y="119"/>
                                    </a:lnTo>
                                    <a:lnTo>
                                      <a:pt x="21" y="118"/>
                                    </a:lnTo>
                                    <a:lnTo>
                                      <a:pt x="22" y="117"/>
                                    </a:lnTo>
                                    <a:lnTo>
                                      <a:pt x="23" y="117"/>
                                    </a:lnTo>
                                    <a:lnTo>
                                      <a:pt x="23" y="116"/>
                                    </a:lnTo>
                                    <a:lnTo>
                                      <a:pt x="24" y="115"/>
                                    </a:lnTo>
                                    <a:lnTo>
                                      <a:pt x="25" y="114"/>
                                    </a:lnTo>
                                    <a:lnTo>
                                      <a:pt x="25" y="112"/>
                                    </a:lnTo>
                                    <a:lnTo>
                                      <a:pt x="26" y="111"/>
                                    </a:lnTo>
                                    <a:lnTo>
                                      <a:pt x="26" y="110"/>
                                    </a:lnTo>
                                    <a:lnTo>
                                      <a:pt x="26" y="109"/>
                                    </a:lnTo>
                                    <a:lnTo>
                                      <a:pt x="26" y="108"/>
                                    </a:lnTo>
                                    <a:lnTo>
                                      <a:pt x="26" y="108"/>
                                    </a:lnTo>
                                    <a:lnTo>
                                      <a:pt x="25" y="107"/>
                                    </a:lnTo>
                                    <a:lnTo>
                                      <a:pt x="25" y="106"/>
                                    </a:lnTo>
                                    <a:lnTo>
                                      <a:pt x="25" y="106"/>
                                    </a:lnTo>
                                    <a:lnTo>
                                      <a:pt x="25" y="105"/>
                                    </a:lnTo>
                                    <a:lnTo>
                                      <a:pt x="25" y="104"/>
                                    </a:lnTo>
                                    <a:lnTo>
                                      <a:pt x="24" y="102"/>
                                    </a:lnTo>
                                    <a:lnTo>
                                      <a:pt x="24" y="102"/>
                                    </a:lnTo>
                                    <a:lnTo>
                                      <a:pt x="24" y="101"/>
                                    </a:lnTo>
                                    <a:lnTo>
                                      <a:pt x="24" y="100"/>
                                    </a:lnTo>
                                    <a:lnTo>
                                      <a:pt x="24" y="100"/>
                                    </a:lnTo>
                                    <a:lnTo>
                                      <a:pt x="23" y="99"/>
                                    </a:lnTo>
                                    <a:lnTo>
                                      <a:pt x="23" y="99"/>
                                    </a:lnTo>
                                    <a:lnTo>
                                      <a:pt x="24" y="98"/>
                                    </a:lnTo>
                                    <a:lnTo>
                                      <a:pt x="26" y="97"/>
                                    </a:lnTo>
                                    <a:lnTo>
                                      <a:pt x="27" y="96"/>
                                    </a:lnTo>
                                    <a:lnTo>
                                      <a:pt x="28" y="95"/>
                                    </a:lnTo>
                                    <a:lnTo>
                                      <a:pt x="29" y="95"/>
                                    </a:lnTo>
                                    <a:lnTo>
                                      <a:pt x="30" y="94"/>
                                    </a:lnTo>
                                    <a:lnTo>
                                      <a:pt x="31" y="93"/>
                                    </a:lnTo>
                                    <a:lnTo>
                                      <a:pt x="32" y="91"/>
                                    </a:lnTo>
                                    <a:lnTo>
                                      <a:pt x="33" y="89"/>
                                    </a:lnTo>
                                    <a:lnTo>
                                      <a:pt x="35" y="87"/>
                                    </a:lnTo>
                                    <a:lnTo>
                                      <a:pt x="36" y="84"/>
                                    </a:lnTo>
                                    <a:lnTo>
                                      <a:pt x="38" y="82"/>
                                    </a:lnTo>
                                    <a:lnTo>
                                      <a:pt x="39" y="82"/>
                                    </a:lnTo>
                                    <a:lnTo>
                                      <a:pt x="40" y="81"/>
                                    </a:lnTo>
                                    <a:lnTo>
                                      <a:pt x="41" y="81"/>
                                    </a:lnTo>
                                    <a:lnTo>
                                      <a:pt x="42" y="81"/>
                                    </a:lnTo>
                                    <a:lnTo>
                                      <a:pt x="43" y="81"/>
                                    </a:lnTo>
                                    <a:lnTo>
                                      <a:pt x="44" y="81"/>
                                    </a:lnTo>
                                    <a:lnTo>
                                      <a:pt x="46" y="82"/>
                                    </a:lnTo>
                                    <a:lnTo>
                                      <a:pt x="47" y="82"/>
                                    </a:lnTo>
                                    <a:lnTo>
                                      <a:pt x="48" y="82"/>
                                    </a:lnTo>
                                    <a:lnTo>
                                      <a:pt x="49" y="82"/>
                                    </a:lnTo>
                                    <a:lnTo>
                                      <a:pt x="51" y="82"/>
                                    </a:lnTo>
                                    <a:lnTo>
                                      <a:pt x="52" y="82"/>
                                    </a:lnTo>
                                    <a:lnTo>
                                      <a:pt x="54" y="82"/>
                                    </a:lnTo>
                                    <a:lnTo>
                                      <a:pt x="55" y="82"/>
                                    </a:lnTo>
                                    <a:lnTo>
                                      <a:pt x="56" y="82"/>
                                    </a:lnTo>
                                    <a:lnTo>
                                      <a:pt x="57" y="81"/>
                                    </a:lnTo>
                                    <a:lnTo>
                                      <a:pt x="58" y="81"/>
                                    </a:lnTo>
                                    <a:lnTo>
                                      <a:pt x="60" y="80"/>
                                    </a:lnTo>
                                    <a:lnTo>
                                      <a:pt x="62" y="78"/>
                                    </a:lnTo>
                                    <a:lnTo>
                                      <a:pt x="64" y="77"/>
                                    </a:lnTo>
                                    <a:lnTo>
                                      <a:pt x="66" y="76"/>
                                    </a:lnTo>
                                    <a:lnTo>
                                      <a:pt x="67" y="74"/>
                                    </a:lnTo>
                                    <a:lnTo>
                                      <a:pt x="69" y="73"/>
                                    </a:lnTo>
                                    <a:lnTo>
                                      <a:pt x="70" y="72"/>
                                    </a:lnTo>
                                    <a:lnTo>
                                      <a:pt x="71" y="72"/>
                                    </a:lnTo>
                                    <a:lnTo>
                                      <a:pt x="71" y="71"/>
                                    </a:lnTo>
                                    <a:lnTo>
                                      <a:pt x="71" y="70"/>
                                    </a:lnTo>
                                    <a:lnTo>
                                      <a:pt x="71" y="70"/>
                                    </a:lnTo>
                                    <a:lnTo>
                                      <a:pt x="71" y="69"/>
                                    </a:lnTo>
                                    <a:lnTo>
                                      <a:pt x="71" y="68"/>
                                    </a:lnTo>
                                    <a:lnTo>
                                      <a:pt x="72" y="68"/>
                                    </a:lnTo>
                                    <a:lnTo>
                                      <a:pt x="72" y="67"/>
                                    </a:lnTo>
                                    <a:lnTo>
                                      <a:pt x="73" y="66"/>
                                    </a:lnTo>
                                    <a:lnTo>
                                      <a:pt x="73" y="66"/>
                                    </a:lnTo>
                                    <a:lnTo>
                                      <a:pt x="73" y="65"/>
                                    </a:lnTo>
                                    <a:lnTo>
                                      <a:pt x="73" y="64"/>
                                    </a:lnTo>
                                    <a:lnTo>
                                      <a:pt x="73" y="64"/>
                                    </a:lnTo>
                                    <a:lnTo>
                                      <a:pt x="73" y="63"/>
                                    </a:lnTo>
                                    <a:lnTo>
                                      <a:pt x="73" y="62"/>
                                    </a:lnTo>
                                    <a:lnTo>
                                      <a:pt x="74" y="61"/>
                                    </a:lnTo>
                                    <a:lnTo>
                                      <a:pt x="75" y="61"/>
                                    </a:lnTo>
                                    <a:lnTo>
                                      <a:pt x="78" y="59"/>
                                    </a:lnTo>
                                    <a:lnTo>
                                      <a:pt x="79" y="58"/>
                                    </a:lnTo>
                                    <a:lnTo>
                                      <a:pt x="81" y="56"/>
                                    </a:lnTo>
                                    <a:lnTo>
                                      <a:pt x="83" y="54"/>
                                    </a:lnTo>
                                    <a:lnTo>
                                      <a:pt x="85" y="53"/>
                                    </a:lnTo>
                                    <a:lnTo>
                                      <a:pt x="86" y="51"/>
                                    </a:lnTo>
                                    <a:lnTo>
                                      <a:pt x="88" y="49"/>
                                    </a:lnTo>
                                    <a:lnTo>
                                      <a:pt x="91" y="45"/>
                                    </a:lnTo>
                                    <a:lnTo>
                                      <a:pt x="93" y="43"/>
                                    </a:lnTo>
                                    <a:lnTo>
                                      <a:pt x="94" y="42"/>
                                    </a:lnTo>
                                    <a:lnTo>
                                      <a:pt x="96" y="40"/>
                                    </a:lnTo>
                                    <a:lnTo>
                                      <a:pt x="98" y="38"/>
                                    </a:lnTo>
                                    <a:lnTo>
                                      <a:pt x="99" y="37"/>
                                    </a:lnTo>
                                    <a:lnTo>
                                      <a:pt x="101" y="35"/>
                                    </a:lnTo>
                                    <a:lnTo>
                                      <a:pt x="101" y="35"/>
                                    </a:lnTo>
                                    <a:lnTo>
                                      <a:pt x="101" y="34"/>
                                    </a:lnTo>
                                    <a:lnTo>
                                      <a:pt x="101" y="33"/>
                                    </a:lnTo>
                                    <a:lnTo>
                                      <a:pt x="101" y="32"/>
                                    </a:lnTo>
                                    <a:lnTo>
                                      <a:pt x="101" y="32"/>
                                    </a:lnTo>
                                    <a:lnTo>
                                      <a:pt x="102" y="31"/>
                                    </a:lnTo>
                                    <a:lnTo>
                                      <a:pt x="102" y="30"/>
                                    </a:lnTo>
                                    <a:lnTo>
                                      <a:pt x="103" y="29"/>
                                    </a:lnTo>
                                    <a:lnTo>
                                      <a:pt x="103" y="29"/>
                                    </a:lnTo>
                                    <a:lnTo>
                                      <a:pt x="103" y="28"/>
                                    </a:lnTo>
                                    <a:lnTo>
                                      <a:pt x="103" y="28"/>
                                    </a:lnTo>
                                    <a:lnTo>
                                      <a:pt x="103" y="27"/>
                                    </a:lnTo>
                                    <a:lnTo>
                                      <a:pt x="103" y="26"/>
                                    </a:lnTo>
                                    <a:lnTo>
                                      <a:pt x="103" y="25"/>
                                    </a:lnTo>
                                    <a:lnTo>
                                      <a:pt x="104" y="25"/>
                                    </a:lnTo>
                                    <a:lnTo>
                                      <a:pt x="105" y="25"/>
                                    </a:lnTo>
                                    <a:lnTo>
                                      <a:pt x="106" y="25"/>
                                    </a:lnTo>
                                    <a:lnTo>
                                      <a:pt x="107" y="25"/>
                                    </a:lnTo>
                                    <a:lnTo>
                                      <a:pt x="107" y="24"/>
                                    </a:lnTo>
                                    <a:lnTo>
                                      <a:pt x="108" y="24"/>
                                    </a:lnTo>
                                    <a:lnTo>
                                      <a:pt x="109" y="23"/>
                                    </a:lnTo>
                                    <a:lnTo>
                                      <a:pt x="110" y="22"/>
                                    </a:lnTo>
                                    <a:lnTo>
                                      <a:pt x="111" y="22"/>
                                    </a:lnTo>
                                    <a:lnTo>
                                      <a:pt x="111" y="21"/>
                                    </a:lnTo>
                                    <a:lnTo>
                                      <a:pt x="112" y="21"/>
                                    </a:lnTo>
                                    <a:lnTo>
                                      <a:pt x="113" y="21"/>
                                    </a:lnTo>
                                    <a:lnTo>
                                      <a:pt x="114" y="20"/>
                                    </a:lnTo>
                                    <a:lnTo>
                                      <a:pt x="115" y="20"/>
                                    </a:lnTo>
                                    <a:lnTo>
                                      <a:pt x="115" y="21"/>
                                    </a:lnTo>
                                    <a:lnTo>
                                      <a:pt x="116" y="21"/>
                                    </a:lnTo>
                                    <a:lnTo>
                                      <a:pt x="117" y="22"/>
                                    </a:lnTo>
                                    <a:lnTo>
                                      <a:pt x="117" y="23"/>
                                    </a:lnTo>
                                    <a:lnTo>
                                      <a:pt x="118" y="24"/>
                                    </a:lnTo>
                                    <a:lnTo>
                                      <a:pt x="119" y="25"/>
                                    </a:lnTo>
                                    <a:lnTo>
                                      <a:pt x="120" y="26"/>
                                    </a:lnTo>
                                    <a:lnTo>
                                      <a:pt x="120" y="26"/>
                                    </a:lnTo>
                                    <a:lnTo>
                                      <a:pt x="121" y="27"/>
                                    </a:lnTo>
                                    <a:lnTo>
                                      <a:pt x="122" y="27"/>
                                    </a:lnTo>
                                    <a:lnTo>
                                      <a:pt x="123" y="27"/>
                                    </a:lnTo>
                                    <a:lnTo>
                                      <a:pt x="124" y="27"/>
                                    </a:lnTo>
                                    <a:lnTo>
                                      <a:pt x="124" y="27"/>
                                    </a:lnTo>
                                    <a:lnTo>
                                      <a:pt x="125" y="27"/>
                                    </a:lnTo>
                                    <a:lnTo>
                                      <a:pt x="126" y="27"/>
                                    </a:lnTo>
                                    <a:lnTo>
                                      <a:pt x="126" y="27"/>
                                    </a:lnTo>
                                    <a:lnTo>
                                      <a:pt x="127" y="27"/>
                                    </a:lnTo>
                                    <a:lnTo>
                                      <a:pt x="128" y="27"/>
                                    </a:lnTo>
                                    <a:lnTo>
                                      <a:pt x="128" y="28"/>
                                    </a:lnTo>
                                    <a:lnTo>
                                      <a:pt x="128" y="29"/>
                                    </a:lnTo>
                                    <a:lnTo>
                                      <a:pt x="128" y="29"/>
                                    </a:lnTo>
                                    <a:lnTo>
                                      <a:pt x="128" y="30"/>
                                    </a:lnTo>
                                    <a:lnTo>
                                      <a:pt x="128" y="30"/>
                                    </a:lnTo>
                                    <a:lnTo>
                                      <a:pt x="129" y="31"/>
                                    </a:lnTo>
                                    <a:lnTo>
                                      <a:pt x="129" y="32"/>
                                    </a:lnTo>
                                    <a:lnTo>
                                      <a:pt x="130" y="32"/>
                                    </a:lnTo>
                                    <a:lnTo>
                                      <a:pt x="130" y="33"/>
                                    </a:lnTo>
                                    <a:lnTo>
                                      <a:pt x="131" y="34"/>
                                    </a:lnTo>
                                    <a:lnTo>
                                      <a:pt x="131" y="35"/>
                                    </a:lnTo>
                                    <a:lnTo>
                                      <a:pt x="131" y="35"/>
                                    </a:lnTo>
                                    <a:lnTo>
                                      <a:pt x="133" y="35"/>
                                    </a:lnTo>
                                    <a:lnTo>
                                      <a:pt x="134" y="35"/>
                                    </a:lnTo>
                                    <a:lnTo>
                                      <a:pt x="136" y="35"/>
                                    </a:lnTo>
                                    <a:lnTo>
                                      <a:pt x="137" y="35"/>
                                    </a:lnTo>
                                    <a:lnTo>
                                      <a:pt x="138" y="36"/>
                                    </a:lnTo>
                                    <a:lnTo>
                                      <a:pt x="140" y="36"/>
                                    </a:lnTo>
                                    <a:lnTo>
                                      <a:pt x="142" y="36"/>
                                    </a:lnTo>
                                    <a:lnTo>
                                      <a:pt x="144" y="37"/>
                                    </a:lnTo>
                                    <a:lnTo>
                                      <a:pt x="146" y="37"/>
                                    </a:lnTo>
                                    <a:lnTo>
                                      <a:pt x="147" y="37"/>
                                    </a:lnTo>
                                    <a:lnTo>
                                      <a:pt x="148" y="37"/>
                                    </a:lnTo>
                                    <a:lnTo>
                                      <a:pt x="150" y="37"/>
                                    </a:lnTo>
                                    <a:lnTo>
                                      <a:pt x="151" y="37"/>
                                    </a:lnTo>
                                    <a:lnTo>
                                      <a:pt x="153" y="37"/>
                                    </a:lnTo>
                                    <a:lnTo>
                                      <a:pt x="154" y="36"/>
                                    </a:lnTo>
                                    <a:lnTo>
                                      <a:pt x="154" y="35"/>
                                    </a:lnTo>
                                    <a:lnTo>
                                      <a:pt x="155" y="35"/>
                                    </a:lnTo>
                                    <a:lnTo>
                                      <a:pt x="155" y="34"/>
                                    </a:lnTo>
                                    <a:lnTo>
                                      <a:pt x="156" y="33"/>
                                    </a:lnTo>
                                    <a:lnTo>
                                      <a:pt x="156" y="31"/>
                                    </a:lnTo>
                                    <a:lnTo>
                                      <a:pt x="157" y="29"/>
                                    </a:lnTo>
                                    <a:lnTo>
                                      <a:pt x="157" y="27"/>
                                    </a:lnTo>
                                    <a:lnTo>
                                      <a:pt x="158" y="26"/>
                                    </a:lnTo>
                                    <a:lnTo>
                                      <a:pt x="158" y="25"/>
                                    </a:lnTo>
                                    <a:lnTo>
                                      <a:pt x="159" y="24"/>
                                    </a:lnTo>
                                    <a:lnTo>
                                      <a:pt x="160" y="23"/>
                                    </a:lnTo>
                                    <a:lnTo>
                                      <a:pt x="160" y="23"/>
                                    </a:lnTo>
                                    <a:lnTo>
                                      <a:pt x="161" y="22"/>
                                    </a:lnTo>
                                    <a:lnTo>
                                      <a:pt x="162" y="22"/>
                                    </a:lnTo>
                                    <a:lnTo>
                                      <a:pt x="163" y="22"/>
                                    </a:lnTo>
                                    <a:lnTo>
                                      <a:pt x="164" y="22"/>
                                    </a:lnTo>
                                    <a:lnTo>
                                      <a:pt x="165" y="22"/>
                                    </a:lnTo>
                                    <a:lnTo>
                                      <a:pt x="165" y="22"/>
                                    </a:lnTo>
                                    <a:lnTo>
                                      <a:pt x="166" y="22"/>
                                    </a:lnTo>
                                    <a:lnTo>
                                      <a:pt x="167" y="21"/>
                                    </a:lnTo>
                                    <a:lnTo>
                                      <a:pt x="168" y="20"/>
                                    </a:lnTo>
                                    <a:lnTo>
                                      <a:pt x="169" y="20"/>
                                    </a:lnTo>
                                    <a:lnTo>
                                      <a:pt x="170" y="19"/>
                                    </a:lnTo>
                                    <a:lnTo>
                                      <a:pt x="171" y="19"/>
                                    </a:lnTo>
                                    <a:lnTo>
                                      <a:pt x="171" y="19"/>
                                    </a:lnTo>
                                    <a:lnTo>
                                      <a:pt x="171" y="20"/>
                                    </a:lnTo>
                                    <a:lnTo>
                                      <a:pt x="171" y="22"/>
                                    </a:lnTo>
                                    <a:lnTo>
                                      <a:pt x="171" y="23"/>
                                    </a:lnTo>
                                    <a:lnTo>
                                      <a:pt x="171" y="24"/>
                                    </a:lnTo>
                                    <a:lnTo>
                                      <a:pt x="171" y="24"/>
                                    </a:lnTo>
                                    <a:lnTo>
                                      <a:pt x="172" y="25"/>
                                    </a:lnTo>
                                    <a:lnTo>
                                      <a:pt x="172" y="25"/>
                                    </a:lnTo>
                                    <a:lnTo>
                                      <a:pt x="172" y="26"/>
                                    </a:lnTo>
                                    <a:lnTo>
                                      <a:pt x="173" y="26"/>
                                    </a:lnTo>
                                    <a:lnTo>
                                      <a:pt x="173" y="27"/>
                                    </a:lnTo>
                                    <a:lnTo>
                                      <a:pt x="174" y="27"/>
                                    </a:lnTo>
                                    <a:lnTo>
                                      <a:pt x="175" y="27"/>
                                    </a:lnTo>
                                    <a:lnTo>
                                      <a:pt x="175" y="27"/>
                                    </a:lnTo>
                                    <a:lnTo>
                                      <a:pt x="176" y="27"/>
                                    </a:lnTo>
                                    <a:lnTo>
                                      <a:pt x="177" y="27"/>
                                    </a:lnTo>
                                    <a:lnTo>
                                      <a:pt x="178" y="27"/>
                                    </a:lnTo>
                                    <a:lnTo>
                                      <a:pt x="179" y="27"/>
                                    </a:lnTo>
                                    <a:lnTo>
                                      <a:pt x="180" y="27"/>
                                    </a:lnTo>
                                    <a:lnTo>
                                      <a:pt x="181" y="27"/>
                                    </a:lnTo>
                                    <a:lnTo>
                                      <a:pt x="181" y="26"/>
                                    </a:lnTo>
                                    <a:lnTo>
                                      <a:pt x="182" y="26"/>
                                    </a:lnTo>
                                    <a:lnTo>
                                      <a:pt x="182" y="26"/>
                                    </a:lnTo>
                                    <a:lnTo>
                                      <a:pt x="183" y="25"/>
                                    </a:lnTo>
                                    <a:lnTo>
                                      <a:pt x="183" y="25"/>
                                    </a:lnTo>
                                    <a:lnTo>
                                      <a:pt x="184" y="24"/>
                                    </a:lnTo>
                                    <a:lnTo>
                                      <a:pt x="184" y="23"/>
                                    </a:lnTo>
                                    <a:lnTo>
                                      <a:pt x="184" y="23"/>
                                    </a:lnTo>
                                    <a:lnTo>
                                      <a:pt x="184" y="22"/>
                                    </a:lnTo>
                                    <a:lnTo>
                                      <a:pt x="185" y="21"/>
                                    </a:lnTo>
                                    <a:lnTo>
                                      <a:pt x="185" y="20"/>
                                    </a:lnTo>
                                    <a:lnTo>
                                      <a:pt x="186" y="20"/>
                                    </a:lnTo>
                                    <a:lnTo>
                                      <a:pt x="187" y="20"/>
                                    </a:lnTo>
                                    <a:lnTo>
                                      <a:pt x="187" y="20"/>
                                    </a:lnTo>
                                    <a:lnTo>
                                      <a:pt x="188" y="20"/>
                                    </a:lnTo>
                                    <a:lnTo>
                                      <a:pt x="189" y="19"/>
                                    </a:lnTo>
                                    <a:lnTo>
                                      <a:pt x="189" y="19"/>
                                    </a:lnTo>
                                    <a:lnTo>
                                      <a:pt x="190" y="18"/>
                                    </a:lnTo>
                                    <a:lnTo>
                                      <a:pt x="190" y="18"/>
                                    </a:lnTo>
                                    <a:lnTo>
                                      <a:pt x="191" y="16"/>
                                    </a:lnTo>
                                    <a:lnTo>
                                      <a:pt x="191" y="16"/>
                                    </a:lnTo>
                                    <a:lnTo>
                                      <a:pt x="192" y="15"/>
                                    </a:lnTo>
                                    <a:lnTo>
                                      <a:pt x="192" y="15"/>
                                    </a:lnTo>
                                    <a:lnTo>
                                      <a:pt x="193" y="14"/>
                                    </a:lnTo>
                                    <a:lnTo>
                                      <a:pt x="194" y="14"/>
                                    </a:lnTo>
                                    <a:lnTo>
                                      <a:pt x="195" y="14"/>
                                    </a:lnTo>
                                    <a:lnTo>
                                      <a:pt x="196" y="13"/>
                                    </a:lnTo>
                                    <a:lnTo>
                                      <a:pt x="197" y="12"/>
                                    </a:lnTo>
                                    <a:lnTo>
                                      <a:pt x="198" y="11"/>
                                    </a:lnTo>
                                    <a:lnTo>
                                      <a:pt x="199" y="10"/>
                                    </a:lnTo>
                                    <a:lnTo>
                                      <a:pt x="201" y="8"/>
                                    </a:lnTo>
                                    <a:lnTo>
                                      <a:pt x="204" y="6"/>
                                    </a:lnTo>
                                    <a:lnTo>
                                      <a:pt x="205" y="5"/>
                                    </a:lnTo>
                                    <a:lnTo>
                                      <a:pt x="206" y="5"/>
                                    </a:lnTo>
                                    <a:lnTo>
                                      <a:pt x="207" y="4"/>
                                    </a:lnTo>
                                    <a:lnTo>
                                      <a:pt x="209" y="3"/>
                                    </a:lnTo>
                                    <a:lnTo>
                                      <a:pt x="210" y="2"/>
                                    </a:lnTo>
                                    <a:lnTo>
                                      <a:pt x="211" y="1"/>
                                    </a:lnTo>
                                    <a:lnTo>
                                      <a:pt x="213" y="1"/>
                                    </a:lnTo>
                                    <a:lnTo>
                                      <a:pt x="215" y="0"/>
                                    </a:lnTo>
                                  </a:path>
                                </a:pathLst>
                              </a:custGeom>
                              <a:solidFill>
                                <a:schemeClr val="accent1">
                                  <a:lumMod val="75000"/>
                                </a:schemeClr>
                              </a:solidFill>
                              <a:ln w="9525">
                                <a:solidFill>
                                  <a:schemeClr val="bg1"/>
                                </a:solidFill>
                              </a:ln>
                            </p:spPr>
                            <p:style>
                              <a:lnRef idx="2">
                                <a:schemeClr val="accent1">
                                  <a:shade val="50000"/>
                                </a:schemeClr>
                              </a:lnRef>
                              <a:fillRef idx="1">
                                <a:schemeClr val="accent1"/>
                              </a:fillRef>
                              <a:effectRef idx="0">
                                <a:schemeClr val="accent1"/>
                              </a:effectRef>
                              <a:fontRef idx="minor">
                                <a:schemeClr val="lt1"/>
                              </a:fontRef>
                            </p:style>
                            <p:txBody>
                              <a:bodyPr lIns="104000" tIns="104000" rIns="104000" bIns="104000" anchor="ctr"/>
                              <a:lstStyle/>
                              <a:p>
                                <a:pPr algn="ctr" defTabSz="457200">
                                  <a:lnSpc>
                                    <a:spcPct val="90000"/>
                                  </a:lnSpc>
                                  <a:buClr>
                                    <a:srgbClr val="0563C1"/>
                                  </a:buClr>
                                  <a:buSzPct val="110000"/>
                                  <a:defRPr/>
                                </a:pPr>
                                <a:endParaRPr lang="en-US" sz="1050" dirty="0">
                                  <a:solidFill>
                                    <a:prstClr val="white"/>
                                  </a:solidFill>
                                </a:endParaRPr>
                              </a:p>
                            </p:txBody>
                          </p:sp>
                          <p:sp>
                            <p:nvSpPr>
                              <p:cNvPr id="139" name="Freeform 9"/>
                              <p:cNvSpPr>
                                <a:spLocks/>
                              </p:cNvSpPr>
                              <p:nvPr/>
                            </p:nvSpPr>
                            <p:spPr bwMode="auto">
                              <a:xfrm>
                                <a:off x="353187" y="3121733"/>
                                <a:ext cx="1813547" cy="1177893"/>
                              </a:xfrm>
                              <a:custGeom>
                                <a:avLst/>
                                <a:gdLst/>
                                <a:ahLst/>
                                <a:cxnLst>
                                  <a:cxn ang="0">
                                    <a:pos x="142" y="5"/>
                                  </a:cxn>
                                  <a:cxn ang="0">
                                    <a:pos x="152" y="18"/>
                                  </a:cxn>
                                  <a:cxn ang="0">
                                    <a:pos x="160" y="17"/>
                                  </a:cxn>
                                  <a:cxn ang="0">
                                    <a:pos x="164" y="26"/>
                                  </a:cxn>
                                  <a:cxn ang="0">
                                    <a:pos x="163" y="42"/>
                                  </a:cxn>
                                  <a:cxn ang="0">
                                    <a:pos x="167" y="48"/>
                                  </a:cxn>
                                  <a:cxn ang="0">
                                    <a:pos x="162" y="56"/>
                                  </a:cxn>
                                  <a:cxn ang="0">
                                    <a:pos x="161" y="77"/>
                                  </a:cxn>
                                  <a:cxn ang="0">
                                    <a:pos x="177" y="89"/>
                                  </a:cxn>
                                  <a:cxn ang="0">
                                    <a:pos x="183" y="104"/>
                                  </a:cxn>
                                  <a:cxn ang="0">
                                    <a:pos x="177" y="109"/>
                                  </a:cxn>
                                  <a:cxn ang="0">
                                    <a:pos x="162" y="97"/>
                                  </a:cxn>
                                  <a:cxn ang="0">
                                    <a:pos x="157" y="99"/>
                                  </a:cxn>
                                  <a:cxn ang="0">
                                    <a:pos x="141" y="95"/>
                                  </a:cxn>
                                  <a:cxn ang="0">
                                    <a:pos x="123" y="98"/>
                                  </a:cxn>
                                  <a:cxn ang="0">
                                    <a:pos x="116" y="93"/>
                                  </a:cxn>
                                  <a:cxn ang="0">
                                    <a:pos x="118" y="88"/>
                                  </a:cxn>
                                  <a:cxn ang="0">
                                    <a:pos x="117" y="80"/>
                                  </a:cxn>
                                  <a:cxn ang="0">
                                    <a:pos x="115" y="69"/>
                                  </a:cxn>
                                  <a:cxn ang="0">
                                    <a:pos x="110" y="65"/>
                                  </a:cxn>
                                  <a:cxn ang="0">
                                    <a:pos x="103" y="63"/>
                                  </a:cxn>
                                  <a:cxn ang="0">
                                    <a:pos x="98" y="66"/>
                                  </a:cxn>
                                  <a:cxn ang="0">
                                    <a:pos x="94" y="65"/>
                                  </a:cxn>
                                  <a:cxn ang="0">
                                    <a:pos x="90" y="63"/>
                                  </a:cxn>
                                  <a:cxn ang="0">
                                    <a:pos x="87" y="59"/>
                                  </a:cxn>
                                  <a:cxn ang="0">
                                    <a:pos x="83" y="57"/>
                                  </a:cxn>
                                  <a:cxn ang="0">
                                    <a:pos x="80" y="55"/>
                                  </a:cxn>
                                  <a:cxn ang="0">
                                    <a:pos x="70" y="55"/>
                                  </a:cxn>
                                  <a:cxn ang="0">
                                    <a:pos x="65" y="58"/>
                                  </a:cxn>
                                  <a:cxn ang="0">
                                    <a:pos x="60" y="59"/>
                                  </a:cxn>
                                  <a:cxn ang="0">
                                    <a:pos x="55" y="60"/>
                                  </a:cxn>
                                  <a:cxn ang="0">
                                    <a:pos x="50" y="62"/>
                                  </a:cxn>
                                  <a:cxn ang="0">
                                    <a:pos x="42" y="65"/>
                                  </a:cxn>
                                  <a:cxn ang="0">
                                    <a:pos x="27" y="65"/>
                                  </a:cxn>
                                  <a:cxn ang="0">
                                    <a:pos x="20" y="60"/>
                                  </a:cxn>
                                  <a:cxn ang="0">
                                    <a:pos x="24" y="58"/>
                                  </a:cxn>
                                  <a:cxn ang="0">
                                    <a:pos x="30" y="60"/>
                                  </a:cxn>
                                  <a:cxn ang="0">
                                    <a:pos x="29" y="51"/>
                                  </a:cxn>
                                  <a:cxn ang="0">
                                    <a:pos x="28" y="42"/>
                                  </a:cxn>
                                  <a:cxn ang="0">
                                    <a:pos x="26" y="34"/>
                                  </a:cxn>
                                  <a:cxn ang="0">
                                    <a:pos x="23" y="27"/>
                                  </a:cxn>
                                  <a:cxn ang="0">
                                    <a:pos x="16" y="20"/>
                                  </a:cxn>
                                  <a:cxn ang="0">
                                    <a:pos x="11" y="18"/>
                                  </a:cxn>
                                  <a:cxn ang="0">
                                    <a:pos x="7" y="16"/>
                                  </a:cxn>
                                  <a:cxn ang="0">
                                    <a:pos x="2" y="17"/>
                                  </a:cxn>
                                  <a:cxn ang="0">
                                    <a:pos x="0" y="11"/>
                                  </a:cxn>
                                  <a:cxn ang="0">
                                    <a:pos x="2" y="5"/>
                                  </a:cxn>
                                  <a:cxn ang="0">
                                    <a:pos x="16" y="7"/>
                                  </a:cxn>
                                  <a:cxn ang="0">
                                    <a:pos x="27" y="6"/>
                                  </a:cxn>
                                  <a:cxn ang="0">
                                    <a:pos x="46" y="13"/>
                                  </a:cxn>
                                  <a:cxn ang="0">
                                    <a:pos x="60" y="14"/>
                                  </a:cxn>
                                  <a:cxn ang="0">
                                    <a:pos x="69" y="8"/>
                                  </a:cxn>
                                  <a:cxn ang="0">
                                    <a:pos x="86" y="5"/>
                                  </a:cxn>
                                  <a:cxn ang="0">
                                    <a:pos x="100" y="4"/>
                                  </a:cxn>
                                  <a:cxn ang="0">
                                    <a:pos x="105" y="7"/>
                                  </a:cxn>
                                  <a:cxn ang="0">
                                    <a:pos x="113" y="16"/>
                                  </a:cxn>
                                  <a:cxn ang="0">
                                    <a:pos x="120" y="9"/>
                                  </a:cxn>
                                  <a:cxn ang="0">
                                    <a:pos x="123" y="3"/>
                                  </a:cxn>
                                  <a:cxn ang="0">
                                    <a:pos x="133" y="2"/>
                                  </a:cxn>
                                </a:cxnLst>
                                <a:rect l="0" t="0" r="r" b="b"/>
                                <a:pathLst>
                                  <a:path w="183" h="110">
                                    <a:moveTo>
                                      <a:pt x="138" y="2"/>
                                    </a:moveTo>
                                    <a:lnTo>
                                      <a:pt x="138" y="2"/>
                                    </a:lnTo>
                                    <a:lnTo>
                                      <a:pt x="138" y="2"/>
                                    </a:lnTo>
                                    <a:lnTo>
                                      <a:pt x="138" y="3"/>
                                    </a:lnTo>
                                    <a:lnTo>
                                      <a:pt x="138" y="3"/>
                                    </a:lnTo>
                                    <a:lnTo>
                                      <a:pt x="139" y="3"/>
                                    </a:lnTo>
                                    <a:lnTo>
                                      <a:pt x="140" y="4"/>
                                    </a:lnTo>
                                    <a:lnTo>
                                      <a:pt x="140" y="4"/>
                                    </a:lnTo>
                                    <a:lnTo>
                                      <a:pt x="141" y="4"/>
                                    </a:lnTo>
                                    <a:lnTo>
                                      <a:pt x="142" y="4"/>
                                    </a:lnTo>
                                    <a:lnTo>
                                      <a:pt x="142" y="5"/>
                                    </a:lnTo>
                                    <a:lnTo>
                                      <a:pt x="143" y="5"/>
                                    </a:lnTo>
                                    <a:lnTo>
                                      <a:pt x="144" y="6"/>
                                    </a:lnTo>
                                    <a:lnTo>
                                      <a:pt x="145" y="7"/>
                                    </a:lnTo>
                                    <a:lnTo>
                                      <a:pt x="146" y="9"/>
                                    </a:lnTo>
                                    <a:lnTo>
                                      <a:pt x="146" y="10"/>
                                    </a:lnTo>
                                    <a:lnTo>
                                      <a:pt x="148" y="12"/>
                                    </a:lnTo>
                                    <a:lnTo>
                                      <a:pt x="148" y="14"/>
                                    </a:lnTo>
                                    <a:lnTo>
                                      <a:pt x="149" y="15"/>
                                    </a:lnTo>
                                    <a:lnTo>
                                      <a:pt x="150" y="16"/>
                                    </a:lnTo>
                                    <a:lnTo>
                                      <a:pt x="151" y="17"/>
                                    </a:lnTo>
                                    <a:lnTo>
                                      <a:pt x="152" y="18"/>
                                    </a:lnTo>
                                    <a:lnTo>
                                      <a:pt x="152" y="18"/>
                                    </a:lnTo>
                                    <a:lnTo>
                                      <a:pt x="153" y="18"/>
                                    </a:lnTo>
                                    <a:lnTo>
                                      <a:pt x="153" y="18"/>
                                    </a:lnTo>
                                    <a:lnTo>
                                      <a:pt x="154" y="18"/>
                                    </a:lnTo>
                                    <a:lnTo>
                                      <a:pt x="154" y="17"/>
                                    </a:lnTo>
                                    <a:lnTo>
                                      <a:pt x="155" y="17"/>
                                    </a:lnTo>
                                    <a:lnTo>
                                      <a:pt x="156" y="17"/>
                                    </a:lnTo>
                                    <a:lnTo>
                                      <a:pt x="157" y="17"/>
                                    </a:lnTo>
                                    <a:lnTo>
                                      <a:pt x="158" y="17"/>
                                    </a:lnTo>
                                    <a:lnTo>
                                      <a:pt x="159" y="17"/>
                                    </a:lnTo>
                                    <a:lnTo>
                                      <a:pt x="160" y="17"/>
                                    </a:lnTo>
                                    <a:lnTo>
                                      <a:pt x="161" y="18"/>
                                    </a:lnTo>
                                    <a:lnTo>
                                      <a:pt x="162" y="18"/>
                                    </a:lnTo>
                                    <a:lnTo>
                                      <a:pt x="163" y="19"/>
                                    </a:lnTo>
                                    <a:lnTo>
                                      <a:pt x="164" y="19"/>
                                    </a:lnTo>
                                    <a:lnTo>
                                      <a:pt x="165" y="20"/>
                                    </a:lnTo>
                                    <a:lnTo>
                                      <a:pt x="165" y="20"/>
                                    </a:lnTo>
                                    <a:lnTo>
                                      <a:pt x="166" y="21"/>
                                    </a:lnTo>
                                    <a:lnTo>
                                      <a:pt x="166" y="21"/>
                                    </a:lnTo>
                                    <a:lnTo>
                                      <a:pt x="166" y="22"/>
                                    </a:lnTo>
                                    <a:lnTo>
                                      <a:pt x="165" y="24"/>
                                    </a:lnTo>
                                    <a:lnTo>
                                      <a:pt x="164" y="26"/>
                                    </a:lnTo>
                                    <a:lnTo>
                                      <a:pt x="164" y="28"/>
                                    </a:lnTo>
                                    <a:lnTo>
                                      <a:pt x="163" y="30"/>
                                    </a:lnTo>
                                    <a:lnTo>
                                      <a:pt x="163" y="31"/>
                                    </a:lnTo>
                                    <a:lnTo>
                                      <a:pt x="163" y="32"/>
                                    </a:lnTo>
                                    <a:lnTo>
                                      <a:pt x="163" y="33"/>
                                    </a:lnTo>
                                    <a:lnTo>
                                      <a:pt x="162" y="35"/>
                                    </a:lnTo>
                                    <a:lnTo>
                                      <a:pt x="162" y="36"/>
                                    </a:lnTo>
                                    <a:lnTo>
                                      <a:pt x="162" y="37"/>
                                    </a:lnTo>
                                    <a:lnTo>
                                      <a:pt x="163" y="39"/>
                                    </a:lnTo>
                                    <a:lnTo>
                                      <a:pt x="163" y="40"/>
                                    </a:lnTo>
                                    <a:lnTo>
                                      <a:pt x="163" y="42"/>
                                    </a:lnTo>
                                    <a:lnTo>
                                      <a:pt x="163" y="42"/>
                                    </a:lnTo>
                                    <a:lnTo>
                                      <a:pt x="163" y="43"/>
                                    </a:lnTo>
                                    <a:lnTo>
                                      <a:pt x="164" y="43"/>
                                    </a:lnTo>
                                    <a:lnTo>
                                      <a:pt x="164" y="44"/>
                                    </a:lnTo>
                                    <a:lnTo>
                                      <a:pt x="165" y="45"/>
                                    </a:lnTo>
                                    <a:lnTo>
                                      <a:pt x="166" y="46"/>
                                    </a:lnTo>
                                    <a:lnTo>
                                      <a:pt x="166" y="46"/>
                                    </a:lnTo>
                                    <a:lnTo>
                                      <a:pt x="166" y="47"/>
                                    </a:lnTo>
                                    <a:lnTo>
                                      <a:pt x="167" y="47"/>
                                    </a:lnTo>
                                    <a:lnTo>
                                      <a:pt x="167" y="48"/>
                                    </a:lnTo>
                                    <a:lnTo>
                                      <a:pt x="167" y="48"/>
                                    </a:lnTo>
                                    <a:lnTo>
                                      <a:pt x="167" y="49"/>
                                    </a:lnTo>
                                    <a:lnTo>
                                      <a:pt x="167" y="49"/>
                                    </a:lnTo>
                                    <a:lnTo>
                                      <a:pt x="166" y="50"/>
                                    </a:lnTo>
                                    <a:lnTo>
                                      <a:pt x="166" y="51"/>
                                    </a:lnTo>
                                    <a:lnTo>
                                      <a:pt x="165" y="51"/>
                                    </a:lnTo>
                                    <a:lnTo>
                                      <a:pt x="164" y="52"/>
                                    </a:lnTo>
                                    <a:lnTo>
                                      <a:pt x="164" y="53"/>
                                    </a:lnTo>
                                    <a:lnTo>
                                      <a:pt x="163" y="54"/>
                                    </a:lnTo>
                                    <a:lnTo>
                                      <a:pt x="163" y="54"/>
                                    </a:lnTo>
                                    <a:lnTo>
                                      <a:pt x="163" y="55"/>
                                    </a:lnTo>
                                    <a:lnTo>
                                      <a:pt x="162" y="56"/>
                                    </a:lnTo>
                                    <a:lnTo>
                                      <a:pt x="162" y="58"/>
                                    </a:lnTo>
                                    <a:lnTo>
                                      <a:pt x="161" y="59"/>
                                    </a:lnTo>
                                    <a:lnTo>
                                      <a:pt x="161" y="61"/>
                                    </a:lnTo>
                                    <a:lnTo>
                                      <a:pt x="161" y="62"/>
                                    </a:lnTo>
                                    <a:lnTo>
                                      <a:pt x="161" y="64"/>
                                    </a:lnTo>
                                    <a:lnTo>
                                      <a:pt x="161" y="66"/>
                                    </a:lnTo>
                                    <a:lnTo>
                                      <a:pt x="161" y="68"/>
                                    </a:lnTo>
                                    <a:lnTo>
                                      <a:pt x="161" y="70"/>
                                    </a:lnTo>
                                    <a:lnTo>
                                      <a:pt x="161" y="72"/>
                                    </a:lnTo>
                                    <a:lnTo>
                                      <a:pt x="161" y="75"/>
                                    </a:lnTo>
                                    <a:lnTo>
                                      <a:pt x="161" y="77"/>
                                    </a:lnTo>
                                    <a:lnTo>
                                      <a:pt x="161" y="80"/>
                                    </a:lnTo>
                                    <a:lnTo>
                                      <a:pt x="163" y="81"/>
                                    </a:lnTo>
                                    <a:lnTo>
                                      <a:pt x="164" y="82"/>
                                    </a:lnTo>
                                    <a:lnTo>
                                      <a:pt x="165" y="83"/>
                                    </a:lnTo>
                                    <a:lnTo>
                                      <a:pt x="167" y="84"/>
                                    </a:lnTo>
                                    <a:lnTo>
                                      <a:pt x="168" y="84"/>
                                    </a:lnTo>
                                    <a:lnTo>
                                      <a:pt x="170" y="85"/>
                                    </a:lnTo>
                                    <a:lnTo>
                                      <a:pt x="173" y="87"/>
                                    </a:lnTo>
                                    <a:lnTo>
                                      <a:pt x="174" y="87"/>
                                    </a:lnTo>
                                    <a:lnTo>
                                      <a:pt x="176" y="88"/>
                                    </a:lnTo>
                                    <a:lnTo>
                                      <a:pt x="177" y="89"/>
                                    </a:lnTo>
                                    <a:lnTo>
                                      <a:pt x="179" y="90"/>
                                    </a:lnTo>
                                    <a:lnTo>
                                      <a:pt x="180" y="91"/>
                                    </a:lnTo>
                                    <a:lnTo>
                                      <a:pt x="181" y="92"/>
                                    </a:lnTo>
                                    <a:lnTo>
                                      <a:pt x="182" y="94"/>
                                    </a:lnTo>
                                    <a:lnTo>
                                      <a:pt x="183" y="95"/>
                                    </a:lnTo>
                                    <a:lnTo>
                                      <a:pt x="183" y="96"/>
                                    </a:lnTo>
                                    <a:lnTo>
                                      <a:pt x="183" y="97"/>
                                    </a:lnTo>
                                    <a:lnTo>
                                      <a:pt x="183" y="99"/>
                                    </a:lnTo>
                                    <a:lnTo>
                                      <a:pt x="183" y="101"/>
                                    </a:lnTo>
                                    <a:lnTo>
                                      <a:pt x="183" y="103"/>
                                    </a:lnTo>
                                    <a:lnTo>
                                      <a:pt x="183" y="104"/>
                                    </a:lnTo>
                                    <a:lnTo>
                                      <a:pt x="183" y="105"/>
                                    </a:lnTo>
                                    <a:lnTo>
                                      <a:pt x="183" y="106"/>
                                    </a:lnTo>
                                    <a:lnTo>
                                      <a:pt x="183" y="107"/>
                                    </a:lnTo>
                                    <a:lnTo>
                                      <a:pt x="182" y="108"/>
                                    </a:lnTo>
                                    <a:lnTo>
                                      <a:pt x="182" y="109"/>
                                    </a:lnTo>
                                    <a:lnTo>
                                      <a:pt x="182" y="109"/>
                                    </a:lnTo>
                                    <a:lnTo>
                                      <a:pt x="181" y="110"/>
                                    </a:lnTo>
                                    <a:lnTo>
                                      <a:pt x="180" y="110"/>
                                    </a:lnTo>
                                    <a:lnTo>
                                      <a:pt x="179" y="110"/>
                                    </a:lnTo>
                                    <a:lnTo>
                                      <a:pt x="178" y="110"/>
                                    </a:lnTo>
                                    <a:lnTo>
                                      <a:pt x="177" y="109"/>
                                    </a:lnTo>
                                    <a:lnTo>
                                      <a:pt x="175" y="109"/>
                                    </a:lnTo>
                                    <a:lnTo>
                                      <a:pt x="174" y="108"/>
                                    </a:lnTo>
                                    <a:lnTo>
                                      <a:pt x="172" y="107"/>
                                    </a:lnTo>
                                    <a:lnTo>
                                      <a:pt x="171" y="107"/>
                                    </a:lnTo>
                                    <a:lnTo>
                                      <a:pt x="169" y="106"/>
                                    </a:lnTo>
                                    <a:lnTo>
                                      <a:pt x="168" y="105"/>
                                    </a:lnTo>
                                    <a:lnTo>
                                      <a:pt x="167" y="103"/>
                                    </a:lnTo>
                                    <a:lnTo>
                                      <a:pt x="166" y="102"/>
                                    </a:lnTo>
                                    <a:lnTo>
                                      <a:pt x="165" y="101"/>
                                    </a:lnTo>
                                    <a:lnTo>
                                      <a:pt x="164" y="100"/>
                                    </a:lnTo>
                                    <a:lnTo>
                                      <a:pt x="162" y="97"/>
                                    </a:lnTo>
                                    <a:lnTo>
                                      <a:pt x="161" y="96"/>
                                    </a:lnTo>
                                    <a:lnTo>
                                      <a:pt x="160" y="95"/>
                                    </a:lnTo>
                                    <a:lnTo>
                                      <a:pt x="159" y="95"/>
                                    </a:lnTo>
                                    <a:lnTo>
                                      <a:pt x="159" y="95"/>
                                    </a:lnTo>
                                    <a:lnTo>
                                      <a:pt x="158" y="95"/>
                                    </a:lnTo>
                                    <a:lnTo>
                                      <a:pt x="158" y="96"/>
                                    </a:lnTo>
                                    <a:lnTo>
                                      <a:pt x="158" y="96"/>
                                    </a:lnTo>
                                    <a:lnTo>
                                      <a:pt x="158" y="97"/>
                                    </a:lnTo>
                                    <a:lnTo>
                                      <a:pt x="157" y="98"/>
                                    </a:lnTo>
                                    <a:lnTo>
                                      <a:pt x="157" y="98"/>
                                    </a:lnTo>
                                    <a:lnTo>
                                      <a:pt x="157" y="99"/>
                                    </a:lnTo>
                                    <a:lnTo>
                                      <a:pt x="156" y="99"/>
                                    </a:lnTo>
                                    <a:lnTo>
                                      <a:pt x="156" y="100"/>
                                    </a:lnTo>
                                    <a:lnTo>
                                      <a:pt x="156" y="100"/>
                                    </a:lnTo>
                                    <a:lnTo>
                                      <a:pt x="155" y="100"/>
                                    </a:lnTo>
                                    <a:lnTo>
                                      <a:pt x="155" y="100"/>
                                    </a:lnTo>
                                    <a:lnTo>
                                      <a:pt x="151" y="99"/>
                                    </a:lnTo>
                                    <a:lnTo>
                                      <a:pt x="148" y="98"/>
                                    </a:lnTo>
                                    <a:lnTo>
                                      <a:pt x="146" y="97"/>
                                    </a:lnTo>
                                    <a:lnTo>
                                      <a:pt x="144" y="96"/>
                                    </a:lnTo>
                                    <a:lnTo>
                                      <a:pt x="143" y="96"/>
                                    </a:lnTo>
                                    <a:lnTo>
                                      <a:pt x="141" y="95"/>
                                    </a:lnTo>
                                    <a:lnTo>
                                      <a:pt x="139" y="96"/>
                                    </a:lnTo>
                                    <a:lnTo>
                                      <a:pt x="136" y="97"/>
                                    </a:lnTo>
                                    <a:lnTo>
                                      <a:pt x="135" y="97"/>
                                    </a:lnTo>
                                    <a:lnTo>
                                      <a:pt x="134" y="97"/>
                                    </a:lnTo>
                                    <a:lnTo>
                                      <a:pt x="132" y="98"/>
                                    </a:lnTo>
                                    <a:lnTo>
                                      <a:pt x="131" y="98"/>
                                    </a:lnTo>
                                    <a:lnTo>
                                      <a:pt x="129" y="98"/>
                                    </a:lnTo>
                                    <a:lnTo>
                                      <a:pt x="128" y="98"/>
                                    </a:lnTo>
                                    <a:lnTo>
                                      <a:pt x="126" y="98"/>
                                    </a:lnTo>
                                    <a:lnTo>
                                      <a:pt x="125" y="98"/>
                                    </a:lnTo>
                                    <a:lnTo>
                                      <a:pt x="123" y="98"/>
                                    </a:lnTo>
                                    <a:lnTo>
                                      <a:pt x="121" y="98"/>
                                    </a:lnTo>
                                    <a:lnTo>
                                      <a:pt x="120" y="98"/>
                                    </a:lnTo>
                                    <a:lnTo>
                                      <a:pt x="118" y="98"/>
                                    </a:lnTo>
                                    <a:lnTo>
                                      <a:pt x="118" y="97"/>
                                    </a:lnTo>
                                    <a:lnTo>
                                      <a:pt x="117" y="97"/>
                                    </a:lnTo>
                                    <a:lnTo>
                                      <a:pt x="117" y="96"/>
                                    </a:lnTo>
                                    <a:lnTo>
                                      <a:pt x="117" y="95"/>
                                    </a:lnTo>
                                    <a:lnTo>
                                      <a:pt x="116" y="95"/>
                                    </a:lnTo>
                                    <a:lnTo>
                                      <a:pt x="116" y="94"/>
                                    </a:lnTo>
                                    <a:lnTo>
                                      <a:pt x="116" y="93"/>
                                    </a:lnTo>
                                    <a:lnTo>
                                      <a:pt x="116" y="93"/>
                                    </a:lnTo>
                                    <a:lnTo>
                                      <a:pt x="116" y="92"/>
                                    </a:lnTo>
                                    <a:lnTo>
                                      <a:pt x="116" y="91"/>
                                    </a:lnTo>
                                    <a:lnTo>
                                      <a:pt x="117" y="91"/>
                                    </a:lnTo>
                                    <a:lnTo>
                                      <a:pt x="117" y="91"/>
                                    </a:lnTo>
                                    <a:lnTo>
                                      <a:pt x="117" y="91"/>
                                    </a:lnTo>
                                    <a:lnTo>
                                      <a:pt x="117" y="91"/>
                                    </a:lnTo>
                                    <a:lnTo>
                                      <a:pt x="118" y="90"/>
                                    </a:lnTo>
                                    <a:lnTo>
                                      <a:pt x="118" y="90"/>
                                    </a:lnTo>
                                    <a:lnTo>
                                      <a:pt x="118" y="89"/>
                                    </a:lnTo>
                                    <a:lnTo>
                                      <a:pt x="118" y="89"/>
                                    </a:lnTo>
                                    <a:lnTo>
                                      <a:pt x="118" y="88"/>
                                    </a:lnTo>
                                    <a:lnTo>
                                      <a:pt x="118" y="87"/>
                                    </a:lnTo>
                                    <a:lnTo>
                                      <a:pt x="118" y="85"/>
                                    </a:lnTo>
                                    <a:lnTo>
                                      <a:pt x="118" y="83"/>
                                    </a:lnTo>
                                    <a:lnTo>
                                      <a:pt x="118" y="82"/>
                                    </a:lnTo>
                                    <a:lnTo>
                                      <a:pt x="118" y="81"/>
                                    </a:lnTo>
                                    <a:lnTo>
                                      <a:pt x="118" y="81"/>
                                    </a:lnTo>
                                    <a:lnTo>
                                      <a:pt x="118" y="81"/>
                                    </a:lnTo>
                                    <a:lnTo>
                                      <a:pt x="118" y="80"/>
                                    </a:lnTo>
                                    <a:lnTo>
                                      <a:pt x="117" y="80"/>
                                    </a:lnTo>
                                    <a:lnTo>
                                      <a:pt x="117" y="80"/>
                                    </a:lnTo>
                                    <a:lnTo>
                                      <a:pt x="117" y="80"/>
                                    </a:lnTo>
                                    <a:lnTo>
                                      <a:pt x="116" y="80"/>
                                    </a:lnTo>
                                    <a:lnTo>
                                      <a:pt x="116" y="77"/>
                                    </a:lnTo>
                                    <a:lnTo>
                                      <a:pt x="116" y="76"/>
                                    </a:lnTo>
                                    <a:lnTo>
                                      <a:pt x="116" y="75"/>
                                    </a:lnTo>
                                    <a:lnTo>
                                      <a:pt x="116" y="74"/>
                                    </a:lnTo>
                                    <a:lnTo>
                                      <a:pt x="116" y="73"/>
                                    </a:lnTo>
                                    <a:lnTo>
                                      <a:pt x="116" y="72"/>
                                    </a:lnTo>
                                    <a:lnTo>
                                      <a:pt x="116" y="71"/>
                                    </a:lnTo>
                                    <a:lnTo>
                                      <a:pt x="116" y="70"/>
                                    </a:lnTo>
                                    <a:lnTo>
                                      <a:pt x="115" y="70"/>
                                    </a:lnTo>
                                    <a:lnTo>
                                      <a:pt x="115" y="69"/>
                                    </a:lnTo>
                                    <a:lnTo>
                                      <a:pt x="114" y="68"/>
                                    </a:lnTo>
                                    <a:lnTo>
                                      <a:pt x="114" y="68"/>
                                    </a:lnTo>
                                    <a:lnTo>
                                      <a:pt x="113" y="67"/>
                                    </a:lnTo>
                                    <a:lnTo>
                                      <a:pt x="112" y="67"/>
                                    </a:lnTo>
                                    <a:lnTo>
                                      <a:pt x="111" y="67"/>
                                    </a:lnTo>
                                    <a:lnTo>
                                      <a:pt x="111" y="66"/>
                                    </a:lnTo>
                                    <a:lnTo>
                                      <a:pt x="111" y="66"/>
                                    </a:lnTo>
                                    <a:lnTo>
                                      <a:pt x="111" y="65"/>
                                    </a:lnTo>
                                    <a:lnTo>
                                      <a:pt x="111" y="65"/>
                                    </a:lnTo>
                                    <a:lnTo>
                                      <a:pt x="111" y="65"/>
                                    </a:lnTo>
                                    <a:lnTo>
                                      <a:pt x="110" y="65"/>
                                    </a:lnTo>
                                    <a:lnTo>
                                      <a:pt x="110" y="65"/>
                                    </a:lnTo>
                                    <a:lnTo>
                                      <a:pt x="110" y="65"/>
                                    </a:lnTo>
                                    <a:lnTo>
                                      <a:pt x="109" y="65"/>
                                    </a:lnTo>
                                    <a:lnTo>
                                      <a:pt x="108" y="65"/>
                                    </a:lnTo>
                                    <a:lnTo>
                                      <a:pt x="107" y="64"/>
                                    </a:lnTo>
                                    <a:lnTo>
                                      <a:pt x="106" y="64"/>
                                    </a:lnTo>
                                    <a:lnTo>
                                      <a:pt x="105" y="64"/>
                                    </a:lnTo>
                                    <a:lnTo>
                                      <a:pt x="104" y="63"/>
                                    </a:lnTo>
                                    <a:lnTo>
                                      <a:pt x="104" y="63"/>
                                    </a:lnTo>
                                    <a:lnTo>
                                      <a:pt x="103" y="63"/>
                                    </a:lnTo>
                                    <a:lnTo>
                                      <a:pt x="103" y="63"/>
                                    </a:lnTo>
                                    <a:lnTo>
                                      <a:pt x="102" y="63"/>
                                    </a:lnTo>
                                    <a:lnTo>
                                      <a:pt x="101" y="64"/>
                                    </a:lnTo>
                                    <a:lnTo>
                                      <a:pt x="101" y="64"/>
                                    </a:lnTo>
                                    <a:lnTo>
                                      <a:pt x="100" y="64"/>
                                    </a:lnTo>
                                    <a:lnTo>
                                      <a:pt x="100" y="65"/>
                                    </a:lnTo>
                                    <a:lnTo>
                                      <a:pt x="99" y="65"/>
                                    </a:lnTo>
                                    <a:lnTo>
                                      <a:pt x="99" y="65"/>
                                    </a:lnTo>
                                    <a:lnTo>
                                      <a:pt x="99" y="65"/>
                                    </a:lnTo>
                                    <a:lnTo>
                                      <a:pt x="98" y="65"/>
                                    </a:lnTo>
                                    <a:lnTo>
                                      <a:pt x="98" y="65"/>
                                    </a:lnTo>
                                    <a:lnTo>
                                      <a:pt x="98" y="66"/>
                                    </a:lnTo>
                                    <a:lnTo>
                                      <a:pt x="98" y="66"/>
                                    </a:lnTo>
                                    <a:lnTo>
                                      <a:pt x="98" y="67"/>
                                    </a:lnTo>
                                    <a:lnTo>
                                      <a:pt x="97" y="67"/>
                                    </a:lnTo>
                                    <a:lnTo>
                                      <a:pt x="96" y="67"/>
                                    </a:lnTo>
                                    <a:lnTo>
                                      <a:pt x="96" y="67"/>
                                    </a:lnTo>
                                    <a:lnTo>
                                      <a:pt x="95" y="67"/>
                                    </a:lnTo>
                                    <a:lnTo>
                                      <a:pt x="95" y="66"/>
                                    </a:lnTo>
                                    <a:lnTo>
                                      <a:pt x="95" y="66"/>
                                    </a:lnTo>
                                    <a:lnTo>
                                      <a:pt x="95" y="65"/>
                                    </a:lnTo>
                                    <a:lnTo>
                                      <a:pt x="94" y="65"/>
                                    </a:lnTo>
                                    <a:lnTo>
                                      <a:pt x="94" y="65"/>
                                    </a:lnTo>
                                    <a:lnTo>
                                      <a:pt x="94" y="65"/>
                                    </a:lnTo>
                                    <a:lnTo>
                                      <a:pt x="93" y="65"/>
                                    </a:lnTo>
                                    <a:lnTo>
                                      <a:pt x="93" y="65"/>
                                    </a:lnTo>
                                    <a:lnTo>
                                      <a:pt x="93" y="65"/>
                                    </a:lnTo>
                                    <a:lnTo>
                                      <a:pt x="92" y="65"/>
                                    </a:lnTo>
                                    <a:lnTo>
                                      <a:pt x="92" y="64"/>
                                    </a:lnTo>
                                    <a:lnTo>
                                      <a:pt x="91" y="64"/>
                                    </a:lnTo>
                                    <a:lnTo>
                                      <a:pt x="91" y="64"/>
                                    </a:lnTo>
                                    <a:lnTo>
                                      <a:pt x="90" y="63"/>
                                    </a:lnTo>
                                    <a:lnTo>
                                      <a:pt x="90" y="63"/>
                                    </a:lnTo>
                                    <a:lnTo>
                                      <a:pt x="90" y="63"/>
                                    </a:lnTo>
                                    <a:lnTo>
                                      <a:pt x="90" y="62"/>
                                    </a:lnTo>
                                    <a:lnTo>
                                      <a:pt x="89" y="62"/>
                                    </a:lnTo>
                                    <a:lnTo>
                                      <a:pt x="89" y="62"/>
                                    </a:lnTo>
                                    <a:lnTo>
                                      <a:pt x="89" y="62"/>
                                    </a:lnTo>
                                    <a:lnTo>
                                      <a:pt x="89" y="62"/>
                                    </a:lnTo>
                                    <a:lnTo>
                                      <a:pt x="88" y="62"/>
                                    </a:lnTo>
                                    <a:lnTo>
                                      <a:pt x="88" y="62"/>
                                    </a:lnTo>
                                    <a:lnTo>
                                      <a:pt x="88" y="61"/>
                                    </a:lnTo>
                                    <a:lnTo>
                                      <a:pt x="88" y="60"/>
                                    </a:lnTo>
                                    <a:lnTo>
                                      <a:pt x="87" y="60"/>
                                    </a:lnTo>
                                    <a:lnTo>
                                      <a:pt x="87" y="59"/>
                                    </a:lnTo>
                                    <a:lnTo>
                                      <a:pt x="86" y="59"/>
                                    </a:lnTo>
                                    <a:lnTo>
                                      <a:pt x="86" y="59"/>
                                    </a:lnTo>
                                    <a:lnTo>
                                      <a:pt x="85" y="59"/>
                                    </a:lnTo>
                                    <a:lnTo>
                                      <a:pt x="85" y="58"/>
                                    </a:lnTo>
                                    <a:lnTo>
                                      <a:pt x="85" y="58"/>
                                    </a:lnTo>
                                    <a:lnTo>
                                      <a:pt x="85" y="58"/>
                                    </a:lnTo>
                                    <a:lnTo>
                                      <a:pt x="85" y="57"/>
                                    </a:lnTo>
                                    <a:lnTo>
                                      <a:pt x="84" y="57"/>
                                    </a:lnTo>
                                    <a:lnTo>
                                      <a:pt x="84" y="57"/>
                                    </a:lnTo>
                                    <a:lnTo>
                                      <a:pt x="84" y="57"/>
                                    </a:lnTo>
                                    <a:lnTo>
                                      <a:pt x="83" y="57"/>
                                    </a:lnTo>
                                    <a:lnTo>
                                      <a:pt x="83" y="57"/>
                                    </a:lnTo>
                                    <a:lnTo>
                                      <a:pt x="83" y="57"/>
                                    </a:lnTo>
                                    <a:lnTo>
                                      <a:pt x="82" y="57"/>
                                    </a:lnTo>
                                    <a:lnTo>
                                      <a:pt x="82" y="57"/>
                                    </a:lnTo>
                                    <a:lnTo>
                                      <a:pt x="81" y="57"/>
                                    </a:lnTo>
                                    <a:lnTo>
                                      <a:pt x="82" y="56"/>
                                    </a:lnTo>
                                    <a:lnTo>
                                      <a:pt x="81" y="56"/>
                                    </a:lnTo>
                                    <a:lnTo>
                                      <a:pt x="81" y="55"/>
                                    </a:lnTo>
                                    <a:lnTo>
                                      <a:pt x="81" y="55"/>
                                    </a:lnTo>
                                    <a:lnTo>
                                      <a:pt x="81" y="55"/>
                                    </a:lnTo>
                                    <a:lnTo>
                                      <a:pt x="80" y="55"/>
                                    </a:lnTo>
                                    <a:lnTo>
                                      <a:pt x="80" y="55"/>
                                    </a:lnTo>
                                    <a:lnTo>
                                      <a:pt x="80" y="55"/>
                                    </a:lnTo>
                                    <a:lnTo>
                                      <a:pt x="78" y="55"/>
                                    </a:lnTo>
                                    <a:lnTo>
                                      <a:pt x="76" y="55"/>
                                    </a:lnTo>
                                    <a:lnTo>
                                      <a:pt x="74" y="55"/>
                                    </a:lnTo>
                                    <a:lnTo>
                                      <a:pt x="71" y="55"/>
                                    </a:lnTo>
                                    <a:lnTo>
                                      <a:pt x="71" y="55"/>
                                    </a:lnTo>
                                    <a:lnTo>
                                      <a:pt x="71" y="55"/>
                                    </a:lnTo>
                                    <a:lnTo>
                                      <a:pt x="70" y="55"/>
                                    </a:lnTo>
                                    <a:lnTo>
                                      <a:pt x="70" y="55"/>
                                    </a:lnTo>
                                    <a:lnTo>
                                      <a:pt x="70" y="55"/>
                                    </a:lnTo>
                                    <a:lnTo>
                                      <a:pt x="70" y="56"/>
                                    </a:lnTo>
                                    <a:lnTo>
                                      <a:pt x="70" y="56"/>
                                    </a:lnTo>
                                    <a:lnTo>
                                      <a:pt x="70" y="57"/>
                                    </a:lnTo>
                                    <a:lnTo>
                                      <a:pt x="69" y="56"/>
                                    </a:lnTo>
                                    <a:lnTo>
                                      <a:pt x="68" y="56"/>
                                    </a:lnTo>
                                    <a:lnTo>
                                      <a:pt x="68" y="56"/>
                                    </a:lnTo>
                                    <a:lnTo>
                                      <a:pt x="67" y="56"/>
                                    </a:lnTo>
                                    <a:lnTo>
                                      <a:pt x="67" y="56"/>
                                    </a:lnTo>
                                    <a:lnTo>
                                      <a:pt x="66" y="57"/>
                                    </a:lnTo>
                                    <a:lnTo>
                                      <a:pt x="65" y="57"/>
                                    </a:lnTo>
                                    <a:lnTo>
                                      <a:pt x="65" y="58"/>
                                    </a:lnTo>
                                    <a:lnTo>
                                      <a:pt x="64" y="58"/>
                                    </a:lnTo>
                                    <a:lnTo>
                                      <a:pt x="64" y="58"/>
                                    </a:lnTo>
                                    <a:lnTo>
                                      <a:pt x="63" y="58"/>
                                    </a:lnTo>
                                    <a:lnTo>
                                      <a:pt x="63" y="58"/>
                                    </a:lnTo>
                                    <a:lnTo>
                                      <a:pt x="62" y="58"/>
                                    </a:lnTo>
                                    <a:lnTo>
                                      <a:pt x="61" y="58"/>
                                    </a:lnTo>
                                    <a:lnTo>
                                      <a:pt x="61" y="58"/>
                                    </a:lnTo>
                                    <a:lnTo>
                                      <a:pt x="61" y="58"/>
                                    </a:lnTo>
                                    <a:lnTo>
                                      <a:pt x="60" y="58"/>
                                    </a:lnTo>
                                    <a:lnTo>
                                      <a:pt x="60" y="59"/>
                                    </a:lnTo>
                                    <a:lnTo>
                                      <a:pt x="60" y="59"/>
                                    </a:lnTo>
                                    <a:lnTo>
                                      <a:pt x="60" y="59"/>
                                    </a:lnTo>
                                    <a:lnTo>
                                      <a:pt x="60" y="60"/>
                                    </a:lnTo>
                                    <a:lnTo>
                                      <a:pt x="60" y="60"/>
                                    </a:lnTo>
                                    <a:lnTo>
                                      <a:pt x="59" y="60"/>
                                    </a:lnTo>
                                    <a:lnTo>
                                      <a:pt x="58" y="60"/>
                                    </a:lnTo>
                                    <a:lnTo>
                                      <a:pt x="57" y="60"/>
                                    </a:lnTo>
                                    <a:lnTo>
                                      <a:pt x="56" y="60"/>
                                    </a:lnTo>
                                    <a:lnTo>
                                      <a:pt x="56" y="60"/>
                                    </a:lnTo>
                                    <a:lnTo>
                                      <a:pt x="56" y="60"/>
                                    </a:lnTo>
                                    <a:lnTo>
                                      <a:pt x="55" y="60"/>
                                    </a:lnTo>
                                    <a:lnTo>
                                      <a:pt x="55" y="60"/>
                                    </a:lnTo>
                                    <a:lnTo>
                                      <a:pt x="55" y="60"/>
                                    </a:lnTo>
                                    <a:lnTo>
                                      <a:pt x="55" y="61"/>
                                    </a:lnTo>
                                    <a:lnTo>
                                      <a:pt x="55" y="61"/>
                                    </a:lnTo>
                                    <a:lnTo>
                                      <a:pt x="55" y="62"/>
                                    </a:lnTo>
                                    <a:lnTo>
                                      <a:pt x="54" y="62"/>
                                    </a:lnTo>
                                    <a:lnTo>
                                      <a:pt x="53" y="62"/>
                                    </a:lnTo>
                                    <a:lnTo>
                                      <a:pt x="52" y="62"/>
                                    </a:lnTo>
                                    <a:lnTo>
                                      <a:pt x="51" y="62"/>
                                    </a:lnTo>
                                    <a:lnTo>
                                      <a:pt x="51" y="61"/>
                                    </a:lnTo>
                                    <a:lnTo>
                                      <a:pt x="51" y="61"/>
                                    </a:lnTo>
                                    <a:lnTo>
                                      <a:pt x="50" y="62"/>
                                    </a:lnTo>
                                    <a:lnTo>
                                      <a:pt x="50" y="62"/>
                                    </a:lnTo>
                                    <a:lnTo>
                                      <a:pt x="50" y="62"/>
                                    </a:lnTo>
                                    <a:lnTo>
                                      <a:pt x="50" y="62"/>
                                    </a:lnTo>
                                    <a:lnTo>
                                      <a:pt x="50" y="63"/>
                                    </a:lnTo>
                                    <a:lnTo>
                                      <a:pt x="50" y="63"/>
                                    </a:lnTo>
                                    <a:lnTo>
                                      <a:pt x="49" y="64"/>
                                    </a:lnTo>
                                    <a:lnTo>
                                      <a:pt x="48" y="64"/>
                                    </a:lnTo>
                                    <a:lnTo>
                                      <a:pt x="46" y="64"/>
                                    </a:lnTo>
                                    <a:lnTo>
                                      <a:pt x="45" y="65"/>
                                    </a:lnTo>
                                    <a:lnTo>
                                      <a:pt x="43" y="65"/>
                                    </a:lnTo>
                                    <a:lnTo>
                                      <a:pt x="42" y="65"/>
                                    </a:lnTo>
                                    <a:lnTo>
                                      <a:pt x="39" y="65"/>
                                    </a:lnTo>
                                    <a:lnTo>
                                      <a:pt x="36" y="65"/>
                                    </a:lnTo>
                                    <a:lnTo>
                                      <a:pt x="35" y="65"/>
                                    </a:lnTo>
                                    <a:lnTo>
                                      <a:pt x="33" y="65"/>
                                    </a:lnTo>
                                    <a:lnTo>
                                      <a:pt x="32" y="65"/>
                                    </a:lnTo>
                                    <a:lnTo>
                                      <a:pt x="30" y="66"/>
                                    </a:lnTo>
                                    <a:lnTo>
                                      <a:pt x="29" y="66"/>
                                    </a:lnTo>
                                    <a:lnTo>
                                      <a:pt x="28" y="67"/>
                                    </a:lnTo>
                                    <a:lnTo>
                                      <a:pt x="28" y="66"/>
                                    </a:lnTo>
                                    <a:lnTo>
                                      <a:pt x="28" y="65"/>
                                    </a:lnTo>
                                    <a:lnTo>
                                      <a:pt x="27" y="65"/>
                                    </a:lnTo>
                                    <a:lnTo>
                                      <a:pt x="27" y="64"/>
                                    </a:lnTo>
                                    <a:lnTo>
                                      <a:pt x="26" y="64"/>
                                    </a:lnTo>
                                    <a:lnTo>
                                      <a:pt x="26" y="64"/>
                                    </a:lnTo>
                                    <a:lnTo>
                                      <a:pt x="25" y="64"/>
                                    </a:lnTo>
                                    <a:lnTo>
                                      <a:pt x="25" y="63"/>
                                    </a:lnTo>
                                    <a:lnTo>
                                      <a:pt x="24" y="63"/>
                                    </a:lnTo>
                                    <a:lnTo>
                                      <a:pt x="23" y="62"/>
                                    </a:lnTo>
                                    <a:lnTo>
                                      <a:pt x="22" y="62"/>
                                    </a:lnTo>
                                    <a:lnTo>
                                      <a:pt x="21" y="61"/>
                                    </a:lnTo>
                                    <a:lnTo>
                                      <a:pt x="21" y="61"/>
                                    </a:lnTo>
                                    <a:lnTo>
                                      <a:pt x="20" y="60"/>
                                    </a:lnTo>
                                    <a:lnTo>
                                      <a:pt x="20" y="60"/>
                                    </a:lnTo>
                                    <a:lnTo>
                                      <a:pt x="20" y="59"/>
                                    </a:lnTo>
                                    <a:lnTo>
                                      <a:pt x="20" y="59"/>
                                    </a:lnTo>
                                    <a:lnTo>
                                      <a:pt x="20" y="58"/>
                                    </a:lnTo>
                                    <a:lnTo>
                                      <a:pt x="20" y="57"/>
                                    </a:lnTo>
                                    <a:lnTo>
                                      <a:pt x="20" y="57"/>
                                    </a:lnTo>
                                    <a:lnTo>
                                      <a:pt x="21" y="57"/>
                                    </a:lnTo>
                                    <a:lnTo>
                                      <a:pt x="21" y="57"/>
                                    </a:lnTo>
                                    <a:lnTo>
                                      <a:pt x="22" y="57"/>
                                    </a:lnTo>
                                    <a:lnTo>
                                      <a:pt x="23" y="58"/>
                                    </a:lnTo>
                                    <a:lnTo>
                                      <a:pt x="24" y="58"/>
                                    </a:lnTo>
                                    <a:lnTo>
                                      <a:pt x="24" y="58"/>
                                    </a:lnTo>
                                    <a:lnTo>
                                      <a:pt x="25" y="59"/>
                                    </a:lnTo>
                                    <a:lnTo>
                                      <a:pt x="26" y="59"/>
                                    </a:lnTo>
                                    <a:lnTo>
                                      <a:pt x="26" y="60"/>
                                    </a:lnTo>
                                    <a:lnTo>
                                      <a:pt x="27" y="60"/>
                                    </a:lnTo>
                                    <a:lnTo>
                                      <a:pt x="28" y="60"/>
                                    </a:lnTo>
                                    <a:lnTo>
                                      <a:pt x="28" y="60"/>
                                    </a:lnTo>
                                    <a:lnTo>
                                      <a:pt x="29" y="60"/>
                                    </a:lnTo>
                                    <a:lnTo>
                                      <a:pt x="29" y="60"/>
                                    </a:lnTo>
                                    <a:lnTo>
                                      <a:pt x="29" y="60"/>
                                    </a:lnTo>
                                    <a:lnTo>
                                      <a:pt x="30" y="60"/>
                                    </a:lnTo>
                                    <a:lnTo>
                                      <a:pt x="30" y="59"/>
                                    </a:lnTo>
                                    <a:lnTo>
                                      <a:pt x="31" y="59"/>
                                    </a:lnTo>
                                    <a:lnTo>
                                      <a:pt x="31" y="59"/>
                                    </a:lnTo>
                                    <a:lnTo>
                                      <a:pt x="31" y="58"/>
                                    </a:lnTo>
                                    <a:lnTo>
                                      <a:pt x="31" y="57"/>
                                    </a:lnTo>
                                    <a:lnTo>
                                      <a:pt x="31" y="56"/>
                                    </a:lnTo>
                                    <a:lnTo>
                                      <a:pt x="31" y="55"/>
                                    </a:lnTo>
                                    <a:lnTo>
                                      <a:pt x="31" y="54"/>
                                    </a:lnTo>
                                    <a:lnTo>
                                      <a:pt x="31" y="53"/>
                                    </a:lnTo>
                                    <a:lnTo>
                                      <a:pt x="30" y="52"/>
                                    </a:lnTo>
                                    <a:lnTo>
                                      <a:pt x="29" y="51"/>
                                    </a:lnTo>
                                    <a:lnTo>
                                      <a:pt x="29" y="50"/>
                                    </a:lnTo>
                                    <a:lnTo>
                                      <a:pt x="29" y="49"/>
                                    </a:lnTo>
                                    <a:lnTo>
                                      <a:pt x="28" y="49"/>
                                    </a:lnTo>
                                    <a:lnTo>
                                      <a:pt x="28" y="48"/>
                                    </a:lnTo>
                                    <a:lnTo>
                                      <a:pt x="28" y="47"/>
                                    </a:lnTo>
                                    <a:lnTo>
                                      <a:pt x="28" y="46"/>
                                    </a:lnTo>
                                    <a:lnTo>
                                      <a:pt x="28" y="44"/>
                                    </a:lnTo>
                                    <a:lnTo>
                                      <a:pt x="28" y="44"/>
                                    </a:lnTo>
                                    <a:lnTo>
                                      <a:pt x="28" y="43"/>
                                    </a:lnTo>
                                    <a:lnTo>
                                      <a:pt x="28" y="43"/>
                                    </a:lnTo>
                                    <a:lnTo>
                                      <a:pt x="28" y="42"/>
                                    </a:lnTo>
                                    <a:lnTo>
                                      <a:pt x="28" y="42"/>
                                    </a:lnTo>
                                    <a:lnTo>
                                      <a:pt x="28" y="42"/>
                                    </a:lnTo>
                                    <a:lnTo>
                                      <a:pt x="27" y="42"/>
                                    </a:lnTo>
                                    <a:lnTo>
                                      <a:pt x="27" y="42"/>
                                    </a:lnTo>
                                    <a:lnTo>
                                      <a:pt x="27" y="42"/>
                                    </a:lnTo>
                                    <a:lnTo>
                                      <a:pt x="26" y="42"/>
                                    </a:lnTo>
                                    <a:lnTo>
                                      <a:pt x="26" y="40"/>
                                    </a:lnTo>
                                    <a:lnTo>
                                      <a:pt x="26" y="38"/>
                                    </a:lnTo>
                                    <a:lnTo>
                                      <a:pt x="26" y="37"/>
                                    </a:lnTo>
                                    <a:lnTo>
                                      <a:pt x="26" y="35"/>
                                    </a:lnTo>
                                    <a:lnTo>
                                      <a:pt x="26" y="34"/>
                                    </a:lnTo>
                                    <a:lnTo>
                                      <a:pt x="26" y="34"/>
                                    </a:lnTo>
                                    <a:lnTo>
                                      <a:pt x="26" y="33"/>
                                    </a:lnTo>
                                    <a:lnTo>
                                      <a:pt x="25" y="33"/>
                                    </a:lnTo>
                                    <a:lnTo>
                                      <a:pt x="25" y="32"/>
                                    </a:lnTo>
                                    <a:lnTo>
                                      <a:pt x="24" y="32"/>
                                    </a:lnTo>
                                    <a:lnTo>
                                      <a:pt x="24" y="32"/>
                                    </a:lnTo>
                                    <a:lnTo>
                                      <a:pt x="23" y="32"/>
                                    </a:lnTo>
                                    <a:lnTo>
                                      <a:pt x="23" y="30"/>
                                    </a:lnTo>
                                    <a:lnTo>
                                      <a:pt x="23" y="29"/>
                                    </a:lnTo>
                                    <a:lnTo>
                                      <a:pt x="23" y="28"/>
                                    </a:lnTo>
                                    <a:lnTo>
                                      <a:pt x="23" y="27"/>
                                    </a:lnTo>
                                    <a:lnTo>
                                      <a:pt x="23" y="26"/>
                                    </a:lnTo>
                                    <a:lnTo>
                                      <a:pt x="22" y="25"/>
                                    </a:lnTo>
                                    <a:lnTo>
                                      <a:pt x="22" y="24"/>
                                    </a:lnTo>
                                    <a:lnTo>
                                      <a:pt x="21" y="23"/>
                                    </a:lnTo>
                                    <a:lnTo>
                                      <a:pt x="21" y="23"/>
                                    </a:lnTo>
                                    <a:lnTo>
                                      <a:pt x="20" y="22"/>
                                    </a:lnTo>
                                    <a:lnTo>
                                      <a:pt x="19" y="22"/>
                                    </a:lnTo>
                                    <a:lnTo>
                                      <a:pt x="18" y="21"/>
                                    </a:lnTo>
                                    <a:lnTo>
                                      <a:pt x="18" y="21"/>
                                    </a:lnTo>
                                    <a:lnTo>
                                      <a:pt x="17" y="20"/>
                                    </a:lnTo>
                                    <a:lnTo>
                                      <a:pt x="16" y="20"/>
                                    </a:lnTo>
                                    <a:lnTo>
                                      <a:pt x="15" y="20"/>
                                    </a:lnTo>
                                    <a:lnTo>
                                      <a:pt x="15" y="20"/>
                                    </a:lnTo>
                                    <a:lnTo>
                                      <a:pt x="15" y="19"/>
                                    </a:lnTo>
                                    <a:lnTo>
                                      <a:pt x="14" y="19"/>
                                    </a:lnTo>
                                    <a:lnTo>
                                      <a:pt x="14" y="19"/>
                                    </a:lnTo>
                                    <a:lnTo>
                                      <a:pt x="14" y="19"/>
                                    </a:lnTo>
                                    <a:lnTo>
                                      <a:pt x="13" y="19"/>
                                    </a:lnTo>
                                    <a:lnTo>
                                      <a:pt x="13" y="18"/>
                                    </a:lnTo>
                                    <a:lnTo>
                                      <a:pt x="12" y="18"/>
                                    </a:lnTo>
                                    <a:lnTo>
                                      <a:pt x="11" y="18"/>
                                    </a:lnTo>
                                    <a:lnTo>
                                      <a:pt x="11" y="18"/>
                                    </a:lnTo>
                                    <a:lnTo>
                                      <a:pt x="11" y="17"/>
                                    </a:lnTo>
                                    <a:lnTo>
                                      <a:pt x="10" y="17"/>
                                    </a:lnTo>
                                    <a:lnTo>
                                      <a:pt x="10" y="16"/>
                                    </a:lnTo>
                                    <a:lnTo>
                                      <a:pt x="10" y="16"/>
                                    </a:lnTo>
                                    <a:lnTo>
                                      <a:pt x="9" y="16"/>
                                    </a:lnTo>
                                    <a:lnTo>
                                      <a:pt x="9" y="16"/>
                                    </a:lnTo>
                                    <a:lnTo>
                                      <a:pt x="9" y="16"/>
                                    </a:lnTo>
                                    <a:lnTo>
                                      <a:pt x="8" y="16"/>
                                    </a:lnTo>
                                    <a:lnTo>
                                      <a:pt x="8" y="16"/>
                                    </a:lnTo>
                                    <a:lnTo>
                                      <a:pt x="7" y="16"/>
                                    </a:lnTo>
                                    <a:lnTo>
                                      <a:pt x="7" y="16"/>
                                    </a:lnTo>
                                    <a:lnTo>
                                      <a:pt x="6" y="16"/>
                                    </a:lnTo>
                                    <a:lnTo>
                                      <a:pt x="5" y="16"/>
                                    </a:lnTo>
                                    <a:lnTo>
                                      <a:pt x="5" y="16"/>
                                    </a:lnTo>
                                    <a:lnTo>
                                      <a:pt x="4" y="17"/>
                                    </a:lnTo>
                                    <a:lnTo>
                                      <a:pt x="3" y="17"/>
                                    </a:lnTo>
                                    <a:lnTo>
                                      <a:pt x="3" y="17"/>
                                    </a:lnTo>
                                    <a:lnTo>
                                      <a:pt x="2" y="17"/>
                                    </a:lnTo>
                                    <a:lnTo>
                                      <a:pt x="2" y="17"/>
                                    </a:lnTo>
                                    <a:lnTo>
                                      <a:pt x="2" y="17"/>
                                    </a:lnTo>
                                    <a:lnTo>
                                      <a:pt x="2" y="17"/>
                                    </a:lnTo>
                                    <a:lnTo>
                                      <a:pt x="2" y="17"/>
                                    </a:lnTo>
                                    <a:lnTo>
                                      <a:pt x="2" y="16"/>
                                    </a:lnTo>
                                    <a:lnTo>
                                      <a:pt x="2" y="15"/>
                                    </a:lnTo>
                                    <a:lnTo>
                                      <a:pt x="2" y="14"/>
                                    </a:lnTo>
                                    <a:lnTo>
                                      <a:pt x="1" y="13"/>
                                    </a:lnTo>
                                    <a:lnTo>
                                      <a:pt x="1" y="13"/>
                                    </a:lnTo>
                                    <a:lnTo>
                                      <a:pt x="1" y="12"/>
                                    </a:lnTo>
                                    <a:lnTo>
                                      <a:pt x="1" y="12"/>
                                    </a:lnTo>
                                    <a:lnTo>
                                      <a:pt x="0" y="12"/>
                                    </a:lnTo>
                                    <a:lnTo>
                                      <a:pt x="0" y="12"/>
                                    </a:lnTo>
                                    <a:lnTo>
                                      <a:pt x="0" y="12"/>
                                    </a:lnTo>
                                    <a:lnTo>
                                      <a:pt x="0" y="11"/>
                                    </a:lnTo>
                                    <a:lnTo>
                                      <a:pt x="0" y="11"/>
                                    </a:lnTo>
                                    <a:lnTo>
                                      <a:pt x="0" y="10"/>
                                    </a:lnTo>
                                    <a:lnTo>
                                      <a:pt x="0" y="10"/>
                                    </a:lnTo>
                                    <a:lnTo>
                                      <a:pt x="0" y="9"/>
                                    </a:lnTo>
                                    <a:lnTo>
                                      <a:pt x="0" y="8"/>
                                    </a:lnTo>
                                    <a:lnTo>
                                      <a:pt x="0" y="8"/>
                                    </a:lnTo>
                                    <a:lnTo>
                                      <a:pt x="0" y="7"/>
                                    </a:lnTo>
                                    <a:lnTo>
                                      <a:pt x="1" y="6"/>
                                    </a:lnTo>
                                    <a:lnTo>
                                      <a:pt x="1" y="6"/>
                                    </a:lnTo>
                                    <a:lnTo>
                                      <a:pt x="2" y="5"/>
                                    </a:lnTo>
                                    <a:lnTo>
                                      <a:pt x="2" y="5"/>
                                    </a:lnTo>
                                    <a:lnTo>
                                      <a:pt x="2" y="5"/>
                                    </a:lnTo>
                                    <a:lnTo>
                                      <a:pt x="3" y="5"/>
                                    </a:lnTo>
                                    <a:lnTo>
                                      <a:pt x="3" y="5"/>
                                    </a:lnTo>
                                    <a:lnTo>
                                      <a:pt x="13" y="5"/>
                                    </a:lnTo>
                                    <a:lnTo>
                                      <a:pt x="13" y="6"/>
                                    </a:lnTo>
                                    <a:lnTo>
                                      <a:pt x="13" y="6"/>
                                    </a:lnTo>
                                    <a:lnTo>
                                      <a:pt x="14" y="6"/>
                                    </a:lnTo>
                                    <a:lnTo>
                                      <a:pt x="14" y="7"/>
                                    </a:lnTo>
                                    <a:lnTo>
                                      <a:pt x="14" y="7"/>
                                    </a:lnTo>
                                    <a:lnTo>
                                      <a:pt x="15" y="7"/>
                                    </a:lnTo>
                                    <a:lnTo>
                                      <a:pt x="16" y="7"/>
                                    </a:lnTo>
                                    <a:lnTo>
                                      <a:pt x="16" y="7"/>
                                    </a:lnTo>
                                    <a:lnTo>
                                      <a:pt x="18" y="7"/>
                                    </a:lnTo>
                                    <a:lnTo>
                                      <a:pt x="19" y="7"/>
                                    </a:lnTo>
                                    <a:lnTo>
                                      <a:pt x="20" y="6"/>
                                    </a:lnTo>
                                    <a:lnTo>
                                      <a:pt x="20" y="6"/>
                                    </a:lnTo>
                                    <a:lnTo>
                                      <a:pt x="21" y="6"/>
                                    </a:lnTo>
                                    <a:lnTo>
                                      <a:pt x="21" y="7"/>
                                    </a:lnTo>
                                    <a:lnTo>
                                      <a:pt x="23" y="6"/>
                                    </a:lnTo>
                                    <a:lnTo>
                                      <a:pt x="25" y="6"/>
                                    </a:lnTo>
                                    <a:lnTo>
                                      <a:pt x="26" y="6"/>
                                    </a:lnTo>
                                    <a:lnTo>
                                      <a:pt x="27" y="6"/>
                                    </a:lnTo>
                                    <a:lnTo>
                                      <a:pt x="29" y="7"/>
                                    </a:lnTo>
                                    <a:lnTo>
                                      <a:pt x="30" y="7"/>
                                    </a:lnTo>
                                    <a:lnTo>
                                      <a:pt x="31" y="7"/>
                                    </a:lnTo>
                                    <a:lnTo>
                                      <a:pt x="32" y="7"/>
                                    </a:lnTo>
                                    <a:lnTo>
                                      <a:pt x="34" y="8"/>
                                    </a:lnTo>
                                    <a:lnTo>
                                      <a:pt x="36" y="9"/>
                                    </a:lnTo>
                                    <a:lnTo>
                                      <a:pt x="38" y="10"/>
                                    </a:lnTo>
                                    <a:lnTo>
                                      <a:pt x="40" y="11"/>
                                    </a:lnTo>
                                    <a:lnTo>
                                      <a:pt x="42" y="11"/>
                                    </a:lnTo>
                                    <a:lnTo>
                                      <a:pt x="44" y="12"/>
                                    </a:lnTo>
                                    <a:lnTo>
                                      <a:pt x="46" y="13"/>
                                    </a:lnTo>
                                    <a:lnTo>
                                      <a:pt x="48" y="14"/>
                                    </a:lnTo>
                                    <a:lnTo>
                                      <a:pt x="49" y="14"/>
                                    </a:lnTo>
                                    <a:lnTo>
                                      <a:pt x="50" y="14"/>
                                    </a:lnTo>
                                    <a:lnTo>
                                      <a:pt x="51" y="15"/>
                                    </a:lnTo>
                                    <a:lnTo>
                                      <a:pt x="53" y="15"/>
                                    </a:lnTo>
                                    <a:lnTo>
                                      <a:pt x="54" y="15"/>
                                    </a:lnTo>
                                    <a:lnTo>
                                      <a:pt x="55" y="15"/>
                                    </a:lnTo>
                                    <a:lnTo>
                                      <a:pt x="56" y="15"/>
                                    </a:lnTo>
                                    <a:lnTo>
                                      <a:pt x="58" y="15"/>
                                    </a:lnTo>
                                    <a:lnTo>
                                      <a:pt x="59" y="15"/>
                                    </a:lnTo>
                                    <a:lnTo>
                                      <a:pt x="60" y="14"/>
                                    </a:lnTo>
                                    <a:lnTo>
                                      <a:pt x="61" y="14"/>
                                    </a:lnTo>
                                    <a:lnTo>
                                      <a:pt x="61" y="14"/>
                                    </a:lnTo>
                                    <a:lnTo>
                                      <a:pt x="62" y="13"/>
                                    </a:lnTo>
                                    <a:lnTo>
                                      <a:pt x="63" y="13"/>
                                    </a:lnTo>
                                    <a:lnTo>
                                      <a:pt x="64" y="12"/>
                                    </a:lnTo>
                                    <a:lnTo>
                                      <a:pt x="65" y="10"/>
                                    </a:lnTo>
                                    <a:lnTo>
                                      <a:pt x="65" y="10"/>
                                    </a:lnTo>
                                    <a:lnTo>
                                      <a:pt x="66" y="9"/>
                                    </a:lnTo>
                                    <a:lnTo>
                                      <a:pt x="67" y="9"/>
                                    </a:lnTo>
                                    <a:lnTo>
                                      <a:pt x="68" y="9"/>
                                    </a:lnTo>
                                    <a:lnTo>
                                      <a:pt x="69" y="8"/>
                                    </a:lnTo>
                                    <a:lnTo>
                                      <a:pt x="70" y="8"/>
                                    </a:lnTo>
                                    <a:lnTo>
                                      <a:pt x="73" y="8"/>
                                    </a:lnTo>
                                    <a:lnTo>
                                      <a:pt x="76" y="8"/>
                                    </a:lnTo>
                                    <a:lnTo>
                                      <a:pt x="78" y="8"/>
                                    </a:lnTo>
                                    <a:lnTo>
                                      <a:pt x="81" y="8"/>
                                    </a:lnTo>
                                    <a:lnTo>
                                      <a:pt x="82" y="7"/>
                                    </a:lnTo>
                                    <a:lnTo>
                                      <a:pt x="83" y="7"/>
                                    </a:lnTo>
                                    <a:lnTo>
                                      <a:pt x="84" y="6"/>
                                    </a:lnTo>
                                    <a:lnTo>
                                      <a:pt x="84" y="6"/>
                                    </a:lnTo>
                                    <a:lnTo>
                                      <a:pt x="85" y="5"/>
                                    </a:lnTo>
                                    <a:lnTo>
                                      <a:pt x="86" y="5"/>
                                    </a:lnTo>
                                    <a:lnTo>
                                      <a:pt x="87" y="4"/>
                                    </a:lnTo>
                                    <a:lnTo>
                                      <a:pt x="88" y="4"/>
                                    </a:lnTo>
                                    <a:lnTo>
                                      <a:pt x="90" y="3"/>
                                    </a:lnTo>
                                    <a:lnTo>
                                      <a:pt x="91" y="3"/>
                                    </a:lnTo>
                                    <a:lnTo>
                                      <a:pt x="92" y="3"/>
                                    </a:lnTo>
                                    <a:lnTo>
                                      <a:pt x="94" y="3"/>
                                    </a:lnTo>
                                    <a:lnTo>
                                      <a:pt x="95" y="3"/>
                                    </a:lnTo>
                                    <a:lnTo>
                                      <a:pt x="97" y="3"/>
                                    </a:lnTo>
                                    <a:lnTo>
                                      <a:pt x="98" y="3"/>
                                    </a:lnTo>
                                    <a:lnTo>
                                      <a:pt x="100" y="3"/>
                                    </a:lnTo>
                                    <a:lnTo>
                                      <a:pt x="100" y="4"/>
                                    </a:lnTo>
                                    <a:lnTo>
                                      <a:pt x="100" y="4"/>
                                    </a:lnTo>
                                    <a:lnTo>
                                      <a:pt x="100" y="4"/>
                                    </a:lnTo>
                                    <a:lnTo>
                                      <a:pt x="100" y="5"/>
                                    </a:lnTo>
                                    <a:lnTo>
                                      <a:pt x="100" y="5"/>
                                    </a:lnTo>
                                    <a:lnTo>
                                      <a:pt x="101" y="5"/>
                                    </a:lnTo>
                                    <a:lnTo>
                                      <a:pt x="101" y="5"/>
                                    </a:lnTo>
                                    <a:lnTo>
                                      <a:pt x="101" y="5"/>
                                    </a:lnTo>
                                    <a:lnTo>
                                      <a:pt x="102" y="5"/>
                                    </a:lnTo>
                                    <a:lnTo>
                                      <a:pt x="103" y="6"/>
                                    </a:lnTo>
                                    <a:lnTo>
                                      <a:pt x="104" y="6"/>
                                    </a:lnTo>
                                    <a:lnTo>
                                      <a:pt x="105" y="7"/>
                                    </a:lnTo>
                                    <a:lnTo>
                                      <a:pt x="106" y="8"/>
                                    </a:lnTo>
                                    <a:lnTo>
                                      <a:pt x="107" y="10"/>
                                    </a:lnTo>
                                    <a:lnTo>
                                      <a:pt x="108" y="11"/>
                                    </a:lnTo>
                                    <a:lnTo>
                                      <a:pt x="110" y="13"/>
                                    </a:lnTo>
                                    <a:lnTo>
                                      <a:pt x="110" y="13"/>
                                    </a:lnTo>
                                    <a:lnTo>
                                      <a:pt x="111" y="14"/>
                                    </a:lnTo>
                                    <a:lnTo>
                                      <a:pt x="112" y="14"/>
                                    </a:lnTo>
                                    <a:lnTo>
                                      <a:pt x="113" y="15"/>
                                    </a:lnTo>
                                    <a:lnTo>
                                      <a:pt x="113" y="15"/>
                                    </a:lnTo>
                                    <a:lnTo>
                                      <a:pt x="113" y="15"/>
                                    </a:lnTo>
                                    <a:lnTo>
                                      <a:pt x="113" y="16"/>
                                    </a:lnTo>
                                    <a:lnTo>
                                      <a:pt x="113" y="16"/>
                                    </a:lnTo>
                                    <a:lnTo>
                                      <a:pt x="114" y="16"/>
                                    </a:lnTo>
                                    <a:lnTo>
                                      <a:pt x="114" y="16"/>
                                    </a:lnTo>
                                    <a:lnTo>
                                      <a:pt x="114" y="16"/>
                                    </a:lnTo>
                                    <a:lnTo>
                                      <a:pt x="114" y="16"/>
                                    </a:lnTo>
                                    <a:lnTo>
                                      <a:pt x="115" y="16"/>
                                    </a:lnTo>
                                    <a:lnTo>
                                      <a:pt x="115" y="15"/>
                                    </a:lnTo>
                                    <a:lnTo>
                                      <a:pt x="115" y="15"/>
                                    </a:lnTo>
                                    <a:lnTo>
                                      <a:pt x="116" y="13"/>
                                    </a:lnTo>
                                    <a:lnTo>
                                      <a:pt x="118" y="11"/>
                                    </a:lnTo>
                                    <a:lnTo>
                                      <a:pt x="120" y="9"/>
                                    </a:lnTo>
                                    <a:lnTo>
                                      <a:pt x="121" y="7"/>
                                    </a:lnTo>
                                    <a:lnTo>
                                      <a:pt x="122" y="7"/>
                                    </a:lnTo>
                                    <a:lnTo>
                                      <a:pt x="122" y="7"/>
                                    </a:lnTo>
                                    <a:lnTo>
                                      <a:pt x="122" y="6"/>
                                    </a:lnTo>
                                    <a:lnTo>
                                      <a:pt x="123" y="6"/>
                                    </a:lnTo>
                                    <a:lnTo>
                                      <a:pt x="123" y="6"/>
                                    </a:lnTo>
                                    <a:lnTo>
                                      <a:pt x="123" y="6"/>
                                    </a:lnTo>
                                    <a:lnTo>
                                      <a:pt x="123" y="5"/>
                                    </a:lnTo>
                                    <a:lnTo>
                                      <a:pt x="123" y="5"/>
                                    </a:lnTo>
                                    <a:lnTo>
                                      <a:pt x="123" y="4"/>
                                    </a:lnTo>
                                    <a:lnTo>
                                      <a:pt x="123" y="3"/>
                                    </a:lnTo>
                                    <a:lnTo>
                                      <a:pt x="124" y="2"/>
                                    </a:lnTo>
                                    <a:lnTo>
                                      <a:pt x="124" y="2"/>
                                    </a:lnTo>
                                    <a:lnTo>
                                      <a:pt x="124" y="1"/>
                                    </a:lnTo>
                                    <a:lnTo>
                                      <a:pt x="125" y="1"/>
                                    </a:lnTo>
                                    <a:lnTo>
                                      <a:pt x="126" y="0"/>
                                    </a:lnTo>
                                    <a:lnTo>
                                      <a:pt x="126" y="0"/>
                                    </a:lnTo>
                                    <a:lnTo>
                                      <a:pt x="128" y="0"/>
                                    </a:lnTo>
                                    <a:lnTo>
                                      <a:pt x="129" y="1"/>
                                    </a:lnTo>
                                    <a:lnTo>
                                      <a:pt x="130" y="1"/>
                                    </a:lnTo>
                                    <a:lnTo>
                                      <a:pt x="131" y="1"/>
                                    </a:lnTo>
                                    <a:lnTo>
                                      <a:pt x="133" y="2"/>
                                    </a:lnTo>
                                    <a:lnTo>
                                      <a:pt x="134" y="2"/>
                                    </a:lnTo>
                                    <a:lnTo>
                                      <a:pt x="134" y="2"/>
                                    </a:lnTo>
                                    <a:lnTo>
                                      <a:pt x="135" y="2"/>
                                    </a:lnTo>
                                    <a:lnTo>
                                      <a:pt x="136" y="2"/>
                                    </a:lnTo>
                                    <a:lnTo>
                                      <a:pt x="137" y="2"/>
                                    </a:lnTo>
                                    <a:lnTo>
                                      <a:pt x="138" y="2"/>
                                    </a:lnTo>
                                  </a:path>
                                </a:pathLst>
                              </a:custGeom>
                              <a:solidFill>
                                <a:schemeClr val="bg1">
                                  <a:lumMod val="95000"/>
                                </a:schemeClr>
                              </a:solidFill>
                              <a:ln w="3175">
                                <a:solidFill>
                                  <a:schemeClr val="accent2">
                                    <a:lumMod val="40000"/>
                                    <a:lumOff val="60000"/>
                                  </a:schemeClr>
                                </a:solidFill>
                              </a:ln>
                            </p:spPr>
                            <p:style>
                              <a:lnRef idx="2">
                                <a:schemeClr val="accent1">
                                  <a:shade val="50000"/>
                                </a:schemeClr>
                              </a:lnRef>
                              <a:fillRef idx="1">
                                <a:schemeClr val="accent1"/>
                              </a:fillRef>
                              <a:effectRef idx="0">
                                <a:schemeClr val="accent1"/>
                              </a:effectRef>
                              <a:fontRef idx="minor">
                                <a:schemeClr val="lt1"/>
                              </a:fontRef>
                            </p:style>
                            <p:txBody>
                              <a:bodyPr lIns="104000" tIns="104000" rIns="104000" bIns="104000" anchor="ctr"/>
                              <a:lstStyle/>
                              <a:p>
                                <a:pPr algn="ctr" defTabSz="457200">
                                  <a:lnSpc>
                                    <a:spcPct val="90000"/>
                                  </a:lnSpc>
                                  <a:buClr>
                                    <a:srgbClr val="0563C1"/>
                                  </a:buClr>
                                  <a:buSzPct val="110000"/>
                                  <a:defRPr/>
                                </a:pPr>
                                <a:endParaRPr lang="en-US" sz="1050" dirty="0">
                                  <a:solidFill>
                                    <a:prstClr val="white"/>
                                  </a:solidFill>
                                </a:endParaRPr>
                              </a:p>
                            </p:txBody>
                          </p:sp>
                          <p:sp>
                            <p:nvSpPr>
                              <p:cNvPr id="140" name="Freeform 10"/>
                              <p:cNvSpPr>
                                <a:spLocks/>
                              </p:cNvSpPr>
                              <p:nvPr/>
                            </p:nvSpPr>
                            <p:spPr bwMode="auto">
                              <a:xfrm>
                                <a:off x="5870303" y="3824969"/>
                                <a:ext cx="1905841" cy="1554130"/>
                              </a:xfrm>
                              <a:custGeom>
                                <a:avLst/>
                                <a:gdLst/>
                                <a:ahLst/>
                                <a:cxnLst>
                                  <a:cxn ang="0">
                                    <a:pos x="142" y="6"/>
                                  </a:cxn>
                                  <a:cxn ang="0">
                                    <a:pos x="161" y="6"/>
                                  </a:cxn>
                                  <a:cxn ang="0">
                                    <a:pos x="176" y="26"/>
                                  </a:cxn>
                                  <a:cxn ang="0">
                                    <a:pos x="181" y="32"/>
                                  </a:cxn>
                                  <a:cxn ang="0">
                                    <a:pos x="186" y="35"/>
                                  </a:cxn>
                                  <a:cxn ang="0">
                                    <a:pos x="185" y="43"/>
                                  </a:cxn>
                                  <a:cxn ang="0">
                                    <a:pos x="191" y="44"/>
                                  </a:cxn>
                                  <a:cxn ang="0">
                                    <a:pos x="191" y="49"/>
                                  </a:cxn>
                                  <a:cxn ang="0">
                                    <a:pos x="189" y="49"/>
                                  </a:cxn>
                                  <a:cxn ang="0">
                                    <a:pos x="186" y="48"/>
                                  </a:cxn>
                                  <a:cxn ang="0">
                                    <a:pos x="183" y="50"/>
                                  </a:cxn>
                                  <a:cxn ang="0">
                                    <a:pos x="178" y="50"/>
                                  </a:cxn>
                                  <a:cxn ang="0">
                                    <a:pos x="173" y="47"/>
                                  </a:cxn>
                                  <a:cxn ang="0">
                                    <a:pos x="168" y="49"/>
                                  </a:cxn>
                                  <a:cxn ang="0">
                                    <a:pos x="163" y="51"/>
                                  </a:cxn>
                                  <a:cxn ang="0">
                                    <a:pos x="158" y="53"/>
                                  </a:cxn>
                                  <a:cxn ang="0">
                                    <a:pos x="155" y="55"/>
                                  </a:cxn>
                                  <a:cxn ang="0">
                                    <a:pos x="151" y="56"/>
                                  </a:cxn>
                                  <a:cxn ang="0">
                                    <a:pos x="148" y="58"/>
                                  </a:cxn>
                                  <a:cxn ang="0">
                                    <a:pos x="139" y="64"/>
                                  </a:cxn>
                                  <a:cxn ang="0">
                                    <a:pos x="137" y="68"/>
                                  </a:cxn>
                                  <a:cxn ang="0">
                                    <a:pos x="140" y="74"/>
                                  </a:cxn>
                                  <a:cxn ang="0">
                                    <a:pos x="148" y="75"/>
                                  </a:cxn>
                                  <a:cxn ang="0">
                                    <a:pos x="146" y="79"/>
                                  </a:cxn>
                                  <a:cxn ang="0">
                                    <a:pos x="148" y="87"/>
                                  </a:cxn>
                                  <a:cxn ang="0">
                                    <a:pos x="155" y="102"/>
                                  </a:cxn>
                                  <a:cxn ang="0">
                                    <a:pos x="158" y="106"/>
                                  </a:cxn>
                                  <a:cxn ang="0">
                                    <a:pos x="161" y="110"/>
                                  </a:cxn>
                                  <a:cxn ang="0">
                                    <a:pos x="162" y="118"/>
                                  </a:cxn>
                                  <a:cxn ang="0">
                                    <a:pos x="164" y="120"/>
                                  </a:cxn>
                                  <a:cxn ang="0">
                                    <a:pos x="157" y="123"/>
                                  </a:cxn>
                                  <a:cxn ang="0">
                                    <a:pos x="158" y="129"/>
                                  </a:cxn>
                                  <a:cxn ang="0">
                                    <a:pos x="154" y="130"/>
                                  </a:cxn>
                                  <a:cxn ang="0">
                                    <a:pos x="153" y="137"/>
                                  </a:cxn>
                                  <a:cxn ang="0">
                                    <a:pos x="156" y="145"/>
                                  </a:cxn>
                                  <a:cxn ang="0">
                                    <a:pos x="151" y="144"/>
                                  </a:cxn>
                                  <a:cxn ang="0">
                                    <a:pos x="144" y="142"/>
                                  </a:cxn>
                                  <a:cxn ang="0">
                                    <a:pos x="133" y="139"/>
                                  </a:cxn>
                                  <a:cxn ang="0">
                                    <a:pos x="118" y="137"/>
                                  </a:cxn>
                                  <a:cxn ang="0">
                                    <a:pos x="105" y="137"/>
                                  </a:cxn>
                                  <a:cxn ang="0">
                                    <a:pos x="92" y="137"/>
                                  </a:cxn>
                                  <a:cxn ang="0">
                                    <a:pos x="83" y="137"/>
                                  </a:cxn>
                                  <a:cxn ang="0">
                                    <a:pos x="75" y="138"/>
                                  </a:cxn>
                                  <a:cxn ang="0">
                                    <a:pos x="72" y="139"/>
                                  </a:cxn>
                                  <a:cxn ang="0">
                                    <a:pos x="66" y="140"/>
                                  </a:cxn>
                                  <a:cxn ang="0">
                                    <a:pos x="54" y="142"/>
                                  </a:cxn>
                                  <a:cxn ang="0">
                                    <a:pos x="50" y="144"/>
                                  </a:cxn>
                                  <a:cxn ang="0">
                                    <a:pos x="44" y="143"/>
                                  </a:cxn>
                                  <a:cxn ang="0">
                                    <a:pos x="39" y="128"/>
                                  </a:cxn>
                                  <a:cxn ang="0">
                                    <a:pos x="30" y="106"/>
                                  </a:cxn>
                                  <a:cxn ang="0">
                                    <a:pos x="11" y="91"/>
                                  </a:cxn>
                                  <a:cxn ang="0">
                                    <a:pos x="0" y="69"/>
                                  </a:cxn>
                                  <a:cxn ang="0">
                                    <a:pos x="2" y="48"/>
                                  </a:cxn>
                                  <a:cxn ang="0">
                                    <a:pos x="14" y="34"/>
                                  </a:cxn>
                                  <a:cxn ang="0">
                                    <a:pos x="67" y="24"/>
                                  </a:cxn>
                                  <a:cxn ang="0">
                                    <a:pos x="74" y="15"/>
                                  </a:cxn>
                                  <a:cxn ang="0">
                                    <a:pos x="76" y="7"/>
                                  </a:cxn>
                                  <a:cxn ang="0">
                                    <a:pos x="87" y="0"/>
                                  </a:cxn>
                                  <a:cxn ang="0">
                                    <a:pos x="109" y="3"/>
                                  </a:cxn>
                                  <a:cxn ang="0">
                                    <a:pos x="121" y="4"/>
                                  </a:cxn>
                                  <a:cxn ang="0">
                                    <a:pos x="125" y="3"/>
                                  </a:cxn>
                                </a:cxnLst>
                                <a:rect l="0" t="0" r="r" b="b"/>
                                <a:pathLst>
                                  <a:path w="192" h="145">
                                    <a:moveTo>
                                      <a:pt x="127" y="2"/>
                                    </a:moveTo>
                                    <a:lnTo>
                                      <a:pt x="127" y="2"/>
                                    </a:lnTo>
                                    <a:lnTo>
                                      <a:pt x="127" y="2"/>
                                    </a:lnTo>
                                    <a:lnTo>
                                      <a:pt x="128" y="2"/>
                                    </a:lnTo>
                                    <a:lnTo>
                                      <a:pt x="128" y="2"/>
                                    </a:lnTo>
                                    <a:lnTo>
                                      <a:pt x="129" y="2"/>
                                    </a:lnTo>
                                    <a:lnTo>
                                      <a:pt x="130" y="2"/>
                                    </a:lnTo>
                                    <a:lnTo>
                                      <a:pt x="134" y="4"/>
                                    </a:lnTo>
                                    <a:lnTo>
                                      <a:pt x="136" y="4"/>
                                    </a:lnTo>
                                    <a:lnTo>
                                      <a:pt x="138" y="5"/>
                                    </a:lnTo>
                                    <a:lnTo>
                                      <a:pt x="140" y="6"/>
                                    </a:lnTo>
                                    <a:lnTo>
                                      <a:pt x="142" y="6"/>
                                    </a:lnTo>
                                    <a:lnTo>
                                      <a:pt x="144" y="7"/>
                                    </a:lnTo>
                                    <a:lnTo>
                                      <a:pt x="146" y="7"/>
                                    </a:lnTo>
                                    <a:lnTo>
                                      <a:pt x="149" y="8"/>
                                    </a:lnTo>
                                    <a:lnTo>
                                      <a:pt x="151" y="8"/>
                                    </a:lnTo>
                                    <a:lnTo>
                                      <a:pt x="153" y="8"/>
                                    </a:lnTo>
                                    <a:lnTo>
                                      <a:pt x="155" y="8"/>
                                    </a:lnTo>
                                    <a:lnTo>
                                      <a:pt x="156" y="8"/>
                                    </a:lnTo>
                                    <a:lnTo>
                                      <a:pt x="157" y="7"/>
                                    </a:lnTo>
                                    <a:lnTo>
                                      <a:pt x="158" y="7"/>
                                    </a:lnTo>
                                    <a:lnTo>
                                      <a:pt x="159" y="7"/>
                                    </a:lnTo>
                                    <a:lnTo>
                                      <a:pt x="160" y="7"/>
                                    </a:lnTo>
                                    <a:lnTo>
                                      <a:pt x="161" y="6"/>
                                    </a:lnTo>
                                    <a:lnTo>
                                      <a:pt x="162" y="6"/>
                                    </a:lnTo>
                                    <a:lnTo>
                                      <a:pt x="163" y="6"/>
                                    </a:lnTo>
                                    <a:lnTo>
                                      <a:pt x="164" y="7"/>
                                    </a:lnTo>
                                    <a:lnTo>
                                      <a:pt x="165" y="9"/>
                                    </a:lnTo>
                                    <a:lnTo>
                                      <a:pt x="165" y="10"/>
                                    </a:lnTo>
                                    <a:lnTo>
                                      <a:pt x="166" y="12"/>
                                    </a:lnTo>
                                    <a:lnTo>
                                      <a:pt x="167" y="14"/>
                                    </a:lnTo>
                                    <a:lnTo>
                                      <a:pt x="168" y="15"/>
                                    </a:lnTo>
                                    <a:lnTo>
                                      <a:pt x="170" y="18"/>
                                    </a:lnTo>
                                    <a:lnTo>
                                      <a:pt x="172" y="21"/>
                                    </a:lnTo>
                                    <a:lnTo>
                                      <a:pt x="174" y="24"/>
                                    </a:lnTo>
                                    <a:lnTo>
                                      <a:pt x="176" y="26"/>
                                    </a:lnTo>
                                    <a:lnTo>
                                      <a:pt x="178" y="29"/>
                                    </a:lnTo>
                                    <a:lnTo>
                                      <a:pt x="178" y="29"/>
                                    </a:lnTo>
                                    <a:lnTo>
                                      <a:pt x="178" y="30"/>
                                    </a:lnTo>
                                    <a:lnTo>
                                      <a:pt x="178" y="30"/>
                                    </a:lnTo>
                                    <a:lnTo>
                                      <a:pt x="178" y="30"/>
                                    </a:lnTo>
                                    <a:lnTo>
                                      <a:pt x="179" y="30"/>
                                    </a:lnTo>
                                    <a:lnTo>
                                      <a:pt x="179" y="30"/>
                                    </a:lnTo>
                                    <a:lnTo>
                                      <a:pt x="179" y="30"/>
                                    </a:lnTo>
                                    <a:lnTo>
                                      <a:pt x="180" y="31"/>
                                    </a:lnTo>
                                    <a:lnTo>
                                      <a:pt x="180" y="31"/>
                                    </a:lnTo>
                                    <a:lnTo>
                                      <a:pt x="180" y="32"/>
                                    </a:lnTo>
                                    <a:lnTo>
                                      <a:pt x="181" y="32"/>
                                    </a:lnTo>
                                    <a:lnTo>
                                      <a:pt x="181" y="33"/>
                                    </a:lnTo>
                                    <a:lnTo>
                                      <a:pt x="182" y="33"/>
                                    </a:lnTo>
                                    <a:lnTo>
                                      <a:pt x="183" y="34"/>
                                    </a:lnTo>
                                    <a:lnTo>
                                      <a:pt x="184" y="34"/>
                                    </a:lnTo>
                                    <a:lnTo>
                                      <a:pt x="185" y="34"/>
                                    </a:lnTo>
                                    <a:lnTo>
                                      <a:pt x="185" y="34"/>
                                    </a:lnTo>
                                    <a:lnTo>
                                      <a:pt x="185" y="34"/>
                                    </a:lnTo>
                                    <a:lnTo>
                                      <a:pt x="185" y="35"/>
                                    </a:lnTo>
                                    <a:lnTo>
                                      <a:pt x="185" y="35"/>
                                    </a:lnTo>
                                    <a:lnTo>
                                      <a:pt x="185" y="35"/>
                                    </a:lnTo>
                                    <a:lnTo>
                                      <a:pt x="186" y="35"/>
                                    </a:lnTo>
                                    <a:lnTo>
                                      <a:pt x="186" y="35"/>
                                    </a:lnTo>
                                    <a:lnTo>
                                      <a:pt x="186" y="35"/>
                                    </a:lnTo>
                                    <a:lnTo>
                                      <a:pt x="187" y="35"/>
                                    </a:lnTo>
                                    <a:lnTo>
                                      <a:pt x="187" y="37"/>
                                    </a:lnTo>
                                    <a:lnTo>
                                      <a:pt x="187" y="39"/>
                                    </a:lnTo>
                                    <a:lnTo>
                                      <a:pt x="187" y="41"/>
                                    </a:lnTo>
                                    <a:lnTo>
                                      <a:pt x="187" y="42"/>
                                    </a:lnTo>
                                    <a:lnTo>
                                      <a:pt x="186" y="42"/>
                                    </a:lnTo>
                                    <a:lnTo>
                                      <a:pt x="186" y="43"/>
                                    </a:lnTo>
                                    <a:lnTo>
                                      <a:pt x="185" y="43"/>
                                    </a:lnTo>
                                    <a:lnTo>
                                      <a:pt x="185" y="43"/>
                                    </a:lnTo>
                                    <a:lnTo>
                                      <a:pt x="185" y="43"/>
                                    </a:lnTo>
                                    <a:lnTo>
                                      <a:pt x="185" y="43"/>
                                    </a:lnTo>
                                    <a:lnTo>
                                      <a:pt x="185" y="43"/>
                                    </a:lnTo>
                                    <a:lnTo>
                                      <a:pt x="185" y="43"/>
                                    </a:lnTo>
                                    <a:lnTo>
                                      <a:pt x="185" y="43"/>
                                    </a:lnTo>
                                    <a:lnTo>
                                      <a:pt x="186" y="43"/>
                                    </a:lnTo>
                                    <a:lnTo>
                                      <a:pt x="186" y="44"/>
                                    </a:lnTo>
                                    <a:lnTo>
                                      <a:pt x="186" y="44"/>
                                    </a:lnTo>
                                    <a:lnTo>
                                      <a:pt x="187" y="44"/>
                                    </a:lnTo>
                                    <a:lnTo>
                                      <a:pt x="188" y="44"/>
                                    </a:lnTo>
                                    <a:lnTo>
                                      <a:pt x="189" y="44"/>
                                    </a:lnTo>
                                    <a:lnTo>
                                      <a:pt x="190" y="44"/>
                                    </a:lnTo>
                                    <a:lnTo>
                                      <a:pt x="190" y="44"/>
                                    </a:lnTo>
                                    <a:lnTo>
                                      <a:pt x="191" y="44"/>
                                    </a:lnTo>
                                    <a:lnTo>
                                      <a:pt x="191" y="44"/>
                                    </a:lnTo>
                                    <a:lnTo>
                                      <a:pt x="192" y="44"/>
                                    </a:lnTo>
                                    <a:lnTo>
                                      <a:pt x="192" y="45"/>
                                    </a:lnTo>
                                    <a:lnTo>
                                      <a:pt x="192" y="45"/>
                                    </a:lnTo>
                                    <a:lnTo>
                                      <a:pt x="192" y="45"/>
                                    </a:lnTo>
                                    <a:lnTo>
                                      <a:pt x="192" y="46"/>
                                    </a:lnTo>
                                    <a:lnTo>
                                      <a:pt x="192" y="46"/>
                                    </a:lnTo>
                                    <a:lnTo>
                                      <a:pt x="192" y="46"/>
                                    </a:lnTo>
                                    <a:lnTo>
                                      <a:pt x="192" y="47"/>
                                    </a:lnTo>
                                    <a:lnTo>
                                      <a:pt x="191" y="47"/>
                                    </a:lnTo>
                                    <a:lnTo>
                                      <a:pt x="191" y="48"/>
                                    </a:lnTo>
                                    <a:lnTo>
                                      <a:pt x="191" y="49"/>
                                    </a:lnTo>
                                    <a:lnTo>
                                      <a:pt x="191" y="49"/>
                                    </a:lnTo>
                                    <a:lnTo>
                                      <a:pt x="191" y="50"/>
                                    </a:lnTo>
                                    <a:lnTo>
                                      <a:pt x="191" y="50"/>
                                    </a:lnTo>
                                    <a:lnTo>
                                      <a:pt x="190" y="50"/>
                                    </a:lnTo>
                                    <a:lnTo>
                                      <a:pt x="190" y="50"/>
                                    </a:lnTo>
                                    <a:lnTo>
                                      <a:pt x="190" y="50"/>
                                    </a:lnTo>
                                    <a:lnTo>
                                      <a:pt x="190" y="50"/>
                                    </a:lnTo>
                                    <a:lnTo>
                                      <a:pt x="190" y="50"/>
                                    </a:lnTo>
                                    <a:lnTo>
                                      <a:pt x="190" y="49"/>
                                    </a:lnTo>
                                    <a:lnTo>
                                      <a:pt x="189" y="49"/>
                                    </a:lnTo>
                                    <a:lnTo>
                                      <a:pt x="189" y="49"/>
                                    </a:lnTo>
                                    <a:lnTo>
                                      <a:pt x="189" y="49"/>
                                    </a:lnTo>
                                    <a:lnTo>
                                      <a:pt x="188" y="49"/>
                                    </a:lnTo>
                                    <a:lnTo>
                                      <a:pt x="188" y="49"/>
                                    </a:lnTo>
                                    <a:lnTo>
                                      <a:pt x="188" y="49"/>
                                    </a:lnTo>
                                    <a:lnTo>
                                      <a:pt x="188" y="49"/>
                                    </a:lnTo>
                                    <a:lnTo>
                                      <a:pt x="187" y="49"/>
                                    </a:lnTo>
                                    <a:lnTo>
                                      <a:pt x="187" y="49"/>
                                    </a:lnTo>
                                    <a:lnTo>
                                      <a:pt x="187" y="49"/>
                                    </a:lnTo>
                                    <a:lnTo>
                                      <a:pt x="186" y="48"/>
                                    </a:lnTo>
                                    <a:lnTo>
                                      <a:pt x="186" y="48"/>
                                    </a:lnTo>
                                    <a:lnTo>
                                      <a:pt x="186" y="48"/>
                                    </a:lnTo>
                                    <a:lnTo>
                                      <a:pt x="186" y="48"/>
                                    </a:lnTo>
                                    <a:lnTo>
                                      <a:pt x="186" y="48"/>
                                    </a:lnTo>
                                    <a:lnTo>
                                      <a:pt x="186" y="48"/>
                                    </a:lnTo>
                                    <a:lnTo>
                                      <a:pt x="186" y="48"/>
                                    </a:lnTo>
                                    <a:lnTo>
                                      <a:pt x="185" y="48"/>
                                    </a:lnTo>
                                    <a:lnTo>
                                      <a:pt x="185" y="48"/>
                                    </a:lnTo>
                                    <a:lnTo>
                                      <a:pt x="185" y="48"/>
                                    </a:lnTo>
                                    <a:lnTo>
                                      <a:pt x="185" y="48"/>
                                    </a:lnTo>
                                    <a:lnTo>
                                      <a:pt x="185" y="49"/>
                                    </a:lnTo>
                                    <a:lnTo>
                                      <a:pt x="184" y="49"/>
                                    </a:lnTo>
                                    <a:lnTo>
                                      <a:pt x="184" y="49"/>
                                    </a:lnTo>
                                    <a:lnTo>
                                      <a:pt x="184" y="49"/>
                                    </a:lnTo>
                                    <a:lnTo>
                                      <a:pt x="183" y="49"/>
                                    </a:lnTo>
                                    <a:lnTo>
                                      <a:pt x="183" y="50"/>
                                    </a:lnTo>
                                    <a:lnTo>
                                      <a:pt x="182" y="50"/>
                                    </a:lnTo>
                                    <a:lnTo>
                                      <a:pt x="181" y="50"/>
                                    </a:lnTo>
                                    <a:lnTo>
                                      <a:pt x="181" y="51"/>
                                    </a:lnTo>
                                    <a:lnTo>
                                      <a:pt x="181" y="51"/>
                                    </a:lnTo>
                                    <a:lnTo>
                                      <a:pt x="180" y="51"/>
                                    </a:lnTo>
                                    <a:lnTo>
                                      <a:pt x="180" y="50"/>
                                    </a:lnTo>
                                    <a:lnTo>
                                      <a:pt x="179" y="50"/>
                                    </a:lnTo>
                                    <a:lnTo>
                                      <a:pt x="179" y="50"/>
                                    </a:lnTo>
                                    <a:lnTo>
                                      <a:pt x="179" y="50"/>
                                    </a:lnTo>
                                    <a:lnTo>
                                      <a:pt x="178" y="50"/>
                                    </a:lnTo>
                                    <a:lnTo>
                                      <a:pt x="178" y="50"/>
                                    </a:lnTo>
                                    <a:lnTo>
                                      <a:pt x="178" y="50"/>
                                    </a:lnTo>
                                    <a:lnTo>
                                      <a:pt x="177" y="50"/>
                                    </a:lnTo>
                                    <a:lnTo>
                                      <a:pt x="177" y="50"/>
                                    </a:lnTo>
                                    <a:lnTo>
                                      <a:pt x="176" y="50"/>
                                    </a:lnTo>
                                    <a:lnTo>
                                      <a:pt x="176" y="49"/>
                                    </a:lnTo>
                                    <a:lnTo>
                                      <a:pt x="176" y="49"/>
                                    </a:lnTo>
                                    <a:lnTo>
                                      <a:pt x="175" y="48"/>
                                    </a:lnTo>
                                    <a:lnTo>
                                      <a:pt x="175" y="48"/>
                                    </a:lnTo>
                                    <a:lnTo>
                                      <a:pt x="175" y="47"/>
                                    </a:lnTo>
                                    <a:lnTo>
                                      <a:pt x="174" y="47"/>
                                    </a:lnTo>
                                    <a:lnTo>
                                      <a:pt x="174" y="47"/>
                                    </a:lnTo>
                                    <a:lnTo>
                                      <a:pt x="174" y="47"/>
                                    </a:lnTo>
                                    <a:lnTo>
                                      <a:pt x="173" y="47"/>
                                    </a:lnTo>
                                    <a:lnTo>
                                      <a:pt x="172" y="47"/>
                                    </a:lnTo>
                                    <a:lnTo>
                                      <a:pt x="172" y="47"/>
                                    </a:lnTo>
                                    <a:lnTo>
                                      <a:pt x="171" y="47"/>
                                    </a:lnTo>
                                    <a:lnTo>
                                      <a:pt x="171" y="47"/>
                                    </a:lnTo>
                                    <a:lnTo>
                                      <a:pt x="170" y="47"/>
                                    </a:lnTo>
                                    <a:lnTo>
                                      <a:pt x="170" y="47"/>
                                    </a:lnTo>
                                    <a:lnTo>
                                      <a:pt x="170" y="48"/>
                                    </a:lnTo>
                                    <a:lnTo>
                                      <a:pt x="170" y="48"/>
                                    </a:lnTo>
                                    <a:lnTo>
                                      <a:pt x="170" y="48"/>
                                    </a:lnTo>
                                    <a:lnTo>
                                      <a:pt x="170" y="49"/>
                                    </a:lnTo>
                                    <a:lnTo>
                                      <a:pt x="169" y="49"/>
                                    </a:lnTo>
                                    <a:lnTo>
                                      <a:pt x="168" y="49"/>
                                    </a:lnTo>
                                    <a:lnTo>
                                      <a:pt x="167" y="49"/>
                                    </a:lnTo>
                                    <a:lnTo>
                                      <a:pt x="166" y="49"/>
                                    </a:lnTo>
                                    <a:lnTo>
                                      <a:pt x="166" y="49"/>
                                    </a:lnTo>
                                    <a:lnTo>
                                      <a:pt x="165" y="49"/>
                                    </a:lnTo>
                                    <a:lnTo>
                                      <a:pt x="165" y="49"/>
                                    </a:lnTo>
                                    <a:lnTo>
                                      <a:pt x="165" y="49"/>
                                    </a:lnTo>
                                    <a:lnTo>
                                      <a:pt x="165" y="49"/>
                                    </a:lnTo>
                                    <a:lnTo>
                                      <a:pt x="165" y="49"/>
                                    </a:lnTo>
                                    <a:lnTo>
                                      <a:pt x="165" y="50"/>
                                    </a:lnTo>
                                    <a:lnTo>
                                      <a:pt x="165" y="50"/>
                                    </a:lnTo>
                                    <a:lnTo>
                                      <a:pt x="164" y="51"/>
                                    </a:lnTo>
                                    <a:lnTo>
                                      <a:pt x="163" y="51"/>
                                    </a:lnTo>
                                    <a:lnTo>
                                      <a:pt x="163" y="51"/>
                                    </a:lnTo>
                                    <a:lnTo>
                                      <a:pt x="162" y="51"/>
                                    </a:lnTo>
                                    <a:lnTo>
                                      <a:pt x="161" y="51"/>
                                    </a:lnTo>
                                    <a:lnTo>
                                      <a:pt x="161" y="52"/>
                                    </a:lnTo>
                                    <a:lnTo>
                                      <a:pt x="160" y="52"/>
                                    </a:lnTo>
                                    <a:lnTo>
                                      <a:pt x="159" y="52"/>
                                    </a:lnTo>
                                    <a:lnTo>
                                      <a:pt x="159" y="52"/>
                                    </a:lnTo>
                                    <a:lnTo>
                                      <a:pt x="159" y="52"/>
                                    </a:lnTo>
                                    <a:lnTo>
                                      <a:pt x="158" y="52"/>
                                    </a:lnTo>
                                    <a:lnTo>
                                      <a:pt x="158" y="53"/>
                                    </a:lnTo>
                                    <a:lnTo>
                                      <a:pt x="158" y="53"/>
                                    </a:lnTo>
                                    <a:lnTo>
                                      <a:pt x="158" y="53"/>
                                    </a:lnTo>
                                    <a:lnTo>
                                      <a:pt x="158" y="54"/>
                                    </a:lnTo>
                                    <a:lnTo>
                                      <a:pt x="158" y="54"/>
                                    </a:lnTo>
                                    <a:lnTo>
                                      <a:pt x="157" y="54"/>
                                    </a:lnTo>
                                    <a:lnTo>
                                      <a:pt x="157" y="54"/>
                                    </a:lnTo>
                                    <a:lnTo>
                                      <a:pt x="157" y="54"/>
                                    </a:lnTo>
                                    <a:lnTo>
                                      <a:pt x="157" y="54"/>
                                    </a:lnTo>
                                    <a:lnTo>
                                      <a:pt x="156" y="54"/>
                                    </a:lnTo>
                                    <a:lnTo>
                                      <a:pt x="155" y="54"/>
                                    </a:lnTo>
                                    <a:lnTo>
                                      <a:pt x="155" y="54"/>
                                    </a:lnTo>
                                    <a:lnTo>
                                      <a:pt x="155" y="54"/>
                                    </a:lnTo>
                                    <a:lnTo>
                                      <a:pt x="155" y="54"/>
                                    </a:lnTo>
                                    <a:lnTo>
                                      <a:pt x="155" y="55"/>
                                    </a:lnTo>
                                    <a:lnTo>
                                      <a:pt x="155" y="55"/>
                                    </a:lnTo>
                                    <a:lnTo>
                                      <a:pt x="155" y="56"/>
                                    </a:lnTo>
                                    <a:lnTo>
                                      <a:pt x="154" y="56"/>
                                    </a:lnTo>
                                    <a:lnTo>
                                      <a:pt x="154" y="56"/>
                                    </a:lnTo>
                                    <a:lnTo>
                                      <a:pt x="153" y="56"/>
                                    </a:lnTo>
                                    <a:lnTo>
                                      <a:pt x="153" y="56"/>
                                    </a:lnTo>
                                    <a:lnTo>
                                      <a:pt x="153" y="55"/>
                                    </a:lnTo>
                                    <a:lnTo>
                                      <a:pt x="152" y="55"/>
                                    </a:lnTo>
                                    <a:lnTo>
                                      <a:pt x="152" y="55"/>
                                    </a:lnTo>
                                    <a:lnTo>
                                      <a:pt x="152" y="56"/>
                                    </a:lnTo>
                                    <a:lnTo>
                                      <a:pt x="152" y="56"/>
                                    </a:lnTo>
                                    <a:lnTo>
                                      <a:pt x="151" y="56"/>
                                    </a:lnTo>
                                    <a:lnTo>
                                      <a:pt x="151" y="57"/>
                                    </a:lnTo>
                                    <a:lnTo>
                                      <a:pt x="151" y="57"/>
                                    </a:lnTo>
                                    <a:lnTo>
                                      <a:pt x="151" y="57"/>
                                    </a:lnTo>
                                    <a:lnTo>
                                      <a:pt x="151" y="57"/>
                                    </a:lnTo>
                                    <a:lnTo>
                                      <a:pt x="150" y="57"/>
                                    </a:lnTo>
                                    <a:lnTo>
                                      <a:pt x="150" y="57"/>
                                    </a:lnTo>
                                    <a:lnTo>
                                      <a:pt x="149" y="57"/>
                                    </a:lnTo>
                                    <a:lnTo>
                                      <a:pt x="149" y="57"/>
                                    </a:lnTo>
                                    <a:lnTo>
                                      <a:pt x="149" y="57"/>
                                    </a:lnTo>
                                    <a:lnTo>
                                      <a:pt x="149" y="57"/>
                                    </a:lnTo>
                                    <a:lnTo>
                                      <a:pt x="148" y="58"/>
                                    </a:lnTo>
                                    <a:lnTo>
                                      <a:pt x="148" y="58"/>
                                    </a:lnTo>
                                    <a:lnTo>
                                      <a:pt x="148" y="58"/>
                                    </a:lnTo>
                                    <a:lnTo>
                                      <a:pt x="148" y="59"/>
                                    </a:lnTo>
                                    <a:lnTo>
                                      <a:pt x="148" y="59"/>
                                    </a:lnTo>
                                    <a:lnTo>
                                      <a:pt x="147" y="60"/>
                                    </a:lnTo>
                                    <a:lnTo>
                                      <a:pt x="145" y="60"/>
                                    </a:lnTo>
                                    <a:lnTo>
                                      <a:pt x="144" y="61"/>
                                    </a:lnTo>
                                    <a:lnTo>
                                      <a:pt x="142" y="61"/>
                                    </a:lnTo>
                                    <a:lnTo>
                                      <a:pt x="142" y="62"/>
                                    </a:lnTo>
                                    <a:lnTo>
                                      <a:pt x="141" y="62"/>
                                    </a:lnTo>
                                    <a:lnTo>
                                      <a:pt x="140" y="63"/>
                                    </a:lnTo>
                                    <a:lnTo>
                                      <a:pt x="140" y="63"/>
                                    </a:lnTo>
                                    <a:lnTo>
                                      <a:pt x="139" y="64"/>
                                    </a:lnTo>
                                    <a:lnTo>
                                      <a:pt x="139" y="64"/>
                                    </a:lnTo>
                                    <a:lnTo>
                                      <a:pt x="139" y="65"/>
                                    </a:lnTo>
                                    <a:lnTo>
                                      <a:pt x="138" y="65"/>
                                    </a:lnTo>
                                    <a:lnTo>
                                      <a:pt x="138" y="65"/>
                                    </a:lnTo>
                                    <a:lnTo>
                                      <a:pt x="137" y="65"/>
                                    </a:lnTo>
                                    <a:lnTo>
                                      <a:pt x="137" y="65"/>
                                    </a:lnTo>
                                    <a:lnTo>
                                      <a:pt x="137" y="66"/>
                                    </a:lnTo>
                                    <a:lnTo>
                                      <a:pt x="137" y="66"/>
                                    </a:lnTo>
                                    <a:lnTo>
                                      <a:pt x="137" y="66"/>
                                    </a:lnTo>
                                    <a:lnTo>
                                      <a:pt x="137" y="67"/>
                                    </a:lnTo>
                                    <a:lnTo>
                                      <a:pt x="137" y="67"/>
                                    </a:lnTo>
                                    <a:lnTo>
                                      <a:pt x="137" y="68"/>
                                    </a:lnTo>
                                    <a:lnTo>
                                      <a:pt x="137" y="70"/>
                                    </a:lnTo>
                                    <a:lnTo>
                                      <a:pt x="137" y="71"/>
                                    </a:lnTo>
                                    <a:lnTo>
                                      <a:pt x="137" y="72"/>
                                    </a:lnTo>
                                    <a:lnTo>
                                      <a:pt x="137" y="72"/>
                                    </a:lnTo>
                                    <a:lnTo>
                                      <a:pt x="137" y="73"/>
                                    </a:lnTo>
                                    <a:lnTo>
                                      <a:pt x="137" y="73"/>
                                    </a:lnTo>
                                    <a:lnTo>
                                      <a:pt x="137" y="73"/>
                                    </a:lnTo>
                                    <a:lnTo>
                                      <a:pt x="138" y="74"/>
                                    </a:lnTo>
                                    <a:lnTo>
                                      <a:pt x="138" y="74"/>
                                    </a:lnTo>
                                    <a:lnTo>
                                      <a:pt x="138" y="74"/>
                                    </a:lnTo>
                                    <a:lnTo>
                                      <a:pt x="139" y="74"/>
                                    </a:lnTo>
                                    <a:lnTo>
                                      <a:pt x="140" y="74"/>
                                    </a:lnTo>
                                    <a:lnTo>
                                      <a:pt x="141" y="74"/>
                                    </a:lnTo>
                                    <a:lnTo>
                                      <a:pt x="142" y="74"/>
                                    </a:lnTo>
                                    <a:lnTo>
                                      <a:pt x="143" y="74"/>
                                    </a:lnTo>
                                    <a:lnTo>
                                      <a:pt x="144" y="74"/>
                                    </a:lnTo>
                                    <a:lnTo>
                                      <a:pt x="145" y="74"/>
                                    </a:lnTo>
                                    <a:lnTo>
                                      <a:pt x="146" y="74"/>
                                    </a:lnTo>
                                    <a:lnTo>
                                      <a:pt x="147" y="74"/>
                                    </a:lnTo>
                                    <a:lnTo>
                                      <a:pt x="147" y="74"/>
                                    </a:lnTo>
                                    <a:lnTo>
                                      <a:pt x="148" y="74"/>
                                    </a:lnTo>
                                    <a:lnTo>
                                      <a:pt x="148" y="74"/>
                                    </a:lnTo>
                                    <a:lnTo>
                                      <a:pt x="148" y="75"/>
                                    </a:lnTo>
                                    <a:lnTo>
                                      <a:pt x="148" y="75"/>
                                    </a:lnTo>
                                    <a:lnTo>
                                      <a:pt x="149" y="75"/>
                                    </a:lnTo>
                                    <a:lnTo>
                                      <a:pt x="149" y="76"/>
                                    </a:lnTo>
                                    <a:lnTo>
                                      <a:pt x="148" y="76"/>
                                    </a:lnTo>
                                    <a:lnTo>
                                      <a:pt x="148" y="77"/>
                                    </a:lnTo>
                                    <a:lnTo>
                                      <a:pt x="148" y="77"/>
                                    </a:lnTo>
                                    <a:lnTo>
                                      <a:pt x="147" y="77"/>
                                    </a:lnTo>
                                    <a:lnTo>
                                      <a:pt x="147" y="77"/>
                                    </a:lnTo>
                                    <a:lnTo>
                                      <a:pt x="147" y="77"/>
                                    </a:lnTo>
                                    <a:lnTo>
                                      <a:pt x="147" y="78"/>
                                    </a:lnTo>
                                    <a:lnTo>
                                      <a:pt x="146" y="78"/>
                                    </a:lnTo>
                                    <a:lnTo>
                                      <a:pt x="146" y="78"/>
                                    </a:lnTo>
                                    <a:lnTo>
                                      <a:pt x="146" y="79"/>
                                    </a:lnTo>
                                    <a:lnTo>
                                      <a:pt x="146" y="80"/>
                                    </a:lnTo>
                                    <a:lnTo>
                                      <a:pt x="146" y="82"/>
                                    </a:lnTo>
                                    <a:lnTo>
                                      <a:pt x="146" y="84"/>
                                    </a:lnTo>
                                    <a:lnTo>
                                      <a:pt x="146" y="86"/>
                                    </a:lnTo>
                                    <a:lnTo>
                                      <a:pt x="146" y="86"/>
                                    </a:lnTo>
                                    <a:lnTo>
                                      <a:pt x="146" y="86"/>
                                    </a:lnTo>
                                    <a:lnTo>
                                      <a:pt x="146" y="87"/>
                                    </a:lnTo>
                                    <a:lnTo>
                                      <a:pt x="147" y="87"/>
                                    </a:lnTo>
                                    <a:lnTo>
                                      <a:pt x="147" y="87"/>
                                    </a:lnTo>
                                    <a:lnTo>
                                      <a:pt x="147" y="87"/>
                                    </a:lnTo>
                                    <a:lnTo>
                                      <a:pt x="148" y="87"/>
                                    </a:lnTo>
                                    <a:lnTo>
                                      <a:pt x="148" y="87"/>
                                    </a:lnTo>
                                    <a:lnTo>
                                      <a:pt x="148" y="89"/>
                                    </a:lnTo>
                                    <a:lnTo>
                                      <a:pt x="149" y="90"/>
                                    </a:lnTo>
                                    <a:lnTo>
                                      <a:pt x="149" y="91"/>
                                    </a:lnTo>
                                    <a:lnTo>
                                      <a:pt x="149" y="92"/>
                                    </a:lnTo>
                                    <a:lnTo>
                                      <a:pt x="150" y="93"/>
                                    </a:lnTo>
                                    <a:lnTo>
                                      <a:pt x="150" y="94"/>
                                    </a:lnTo>
                                    <a:lnTo>
                                      <a:pt x="151" y="95"/>
                                    </a:lnTo>
                                    <a:lnTo>
                                      <a:pt x="152" y="96"/>
                                    </a:lnTo>
                                    <a:lnTo>
                                      <a:pt x="153" y="98"/>
                                    </a:lnTo>
                                    <a:lnTo>
                                      <a:pt x="154" y="100"/>
                                    </a:lnTo>
                                    <a:lnTo>
                                      <a:pt x="155" y="101"/>
                                    </a:lnTo>
                                    <a:lnTo>
                                      <a:pt x="155" y="102"/>
                                    </a:lnTo>
                                    <a:lnTo>
                                      <a:pt x="156" y="103"/>
                                    </a:lnTo>
                                    <a:lnTo>
                                      <a:pt x="157" y="104"/>
                                    </a:lnTo>
                                    <a:lnTo>
                                      <a:pt x="156" y="104"/>
                                    </a:lnTo>
                                    <a:lnTo>
                                      <a:pt x="156" y="104"/>
                                    </a:lnTo>
                                    <a:lnTo>
                                      <a:pt x="156" y="105"/>
                                    </a:lnTo>
                                    <a:lnTo>
                                      <a:pt x="157" y="105"/>
                                    </a:lnTo>
                                    <a:lnTo>
                                      <a:pt x="157" y="105"/>
                                    </a:lnTo>
                                    <a:lnTo>
                                      <a:pt x="157" y="105"/>
                                    </a:lnTo>
                                    <a:lnTo>
                                      <a:pt x="158" y="105"/>
                                    </a:lnTo>
                                    <a:lnTo>
                                      <a:pt x="158" y="105"/>
                                    </a:lnTo>
                                    <a:lnTo>
                                      <a:pt x="158" y="106"/>
                                    </a:lnTo>
                                    <a:lnTo>
                                      <a:pt x="158" y="106"/>
                                    </a:lnTo>
                                    <a:lnTo>
                                      <a:pt x="159" y="107"/>
                                    </a:lnTo>
                                    <a:lnTo>
                                      <a:pt x="159" y="107"/>
                                    </a:lnTo>
                                    <a:lnTo>
                                      <a:pt x="159" y="108"/>
                                    </a:lnTo>
                                    <a:lnTo>
                                      <a:pt x="160" y="108"/>
                                    </a:lnTo>
                                    <a:lnTo>
                                      <a:pt x="160" y="109"/>
                                    </a:lnTo>
                                    <a:lnTo>
                                      <a:pt x="160" y="109"/>
                                    </a:lnTo>
                                    <a:lnTo>
                                      <a:pt x="160" y="110"/>
                                    </a:lnTo>
                                    <a:lnTo>
                                      <a:pt x="160" y="110"/>
                                    </a:lnTo>
                                    <a:lnTo>
                                      <a:pt x="160" y="110"/>
                                    </a:lnTo>
                                    <a:lnTo>
                                      <a:pt x="160" y="110"/>
                                    </a:lnTo>
                                    <a:lnTo>
                                      <a:pt x="161" y="110"/>
                                    </a:lnTo>
                                    <a:lnTo>
                                      <a:pt x="161" y="110"/>
                                    </a:lnTo>
                                    <a:lnTo>
                                      <a:pt x="162" y="111"/>
                                    </a:lnTo>
                                    <a:lnTo>
                                      <a:pt x="162" y="111"/>
                                    </a:lnTo>
                                    <a:lnTo>
                                      <a:pt x="162" y="112"/>
                                    </a:lnTo>
                                    <a:lnTo>
                                      <a:pt x="162" y="114"/>
                                    </a:lnTo>
                                    <a:lnTo>
                                      <a:pt x="162" y="115"/>
                                    </a:lnTo>
                                    <a:lnTo>
                                      <a:pt x="162" y="116"/>
                                    </a:lnTo>
                                    <a:lnTo>
                                      <a:pt x="162" y="117"/>
                                    </a:lnTo>
                                    <a:lnTo>
                                      <a:pt x="161" y="117"/>
                                    </a:lnTo>
                                    <a:lnTo>
                                      <a:pt x="161" y="118"/>
                                    </a:lnTo>
                                    <a:lnTo>
                                      <a:pt x="162" y="118"/>
                                    </a:lnTo>
                                    <a:lnTo>
                                      <a:pt x="162" y="118"/>
                                    </a:lnTo>
                                    <a:lnTo>
                                      <a:pt x="162" y="118"/>
                                    </a:lnTo>
                                    <a:lnTo>
                                      <a:pt x="162" y="119"/>
                                    </a:lnTo>
                                    <a:lnTo>
                                      <a:pt x="163" y="119"/>
                                    </a:lnTo>
                                    <a:lnTo>
                                      <a:pt x="163" y="119"/>
                                    </a:lnTo>
                                    <a:lnTo>
                                      <a:pt x="164" y="119"/>
                                    </a:lnTo>
                                    <a:lnTo>
                                      <a:pt x="164" y="119"/>
                                    </a:lnTo>
                                    <a:lnTo>
                                      <a:pt x="164" y="119"/>
                                    </a:lnTo>
                                    <a:lnTo>
                                      <a:pt x="164" y="119"/>
                                    </a:lnTo>
                                    <a:lnTo>
                                      <a:pt x="164" y="119"/>
                                    </a:lnTo>
                                    <a:lnTo>
                                      <a:pt x="164" y="119"/>
                                    </a:lnTo>
                                    <a:lnTo>
                                      <a:pt x="164" y="119"/>
                                    </a:lnTo>
                                    <a:lnTo>
                                      <a:pt x="164" y="120"/>
                                    </a:lnTo>
                                    <a:lnTo>
                                      <a:pt x="164" y="120"/>
                                    </a:lnTo>
                                    <a:lnTo>
                                      <a:pt x="163" y="120"/>
                                    </a:lnTo>
                                    <a:lnTo>
                                      <a:pt x="163" y="120"/>
                                    </a:lnTo>
                                    <a:lnTo>
                                      <a:pt x="162" y="120"/>
                                    </a:lnTo>
                                    <a:lnTo>
                                      <a:pt x="161" y="121"/>
                                    </a:lnTo>
                                    <a:lnTo>
                                      <a:pt x="161" y="121"/>
                                    </a:lnTo>
                                    <a:lnTo>
                                      <a:pt x="160" y="121"/>
                                    </a:lnTo>
                                    <a:lnTo>
                                      <a:pt x="159" y="122"/>
                                    </a:lnTo>
                                    <a:lnTo>
                                      <a:pt x="158" y="122"/>
                                    </a:lnTo>
                                    <a:lnTo>
                                      <a:pt x="158" y="122"/>
                                    </a:lnTo>
                                    <a:lnTo>
                                      <a:pt x="157" y="123"/>
                                    </a:lnTo>
                                    <a:lnTo>
                                      <a:pt x="157" y="123"/>
                                    </a:lnTo>
                                    <a:lnTo>
                                      <a:pt x="157" y="123"/>
                                    </a:lnTo>
                                    <a:lnTo>
                                      <a:pt x="157" y="123"/>
                                    </a:lnTo>
                                    <a:lnTo>
                                      <a:pt x="157" y="124"/>
                                    </a:lnTo>
                                    <a:lnTo>
                                      <a:pt x="156" y="124"/>
                                    </a:lnTo>
                                    <a:lnTo>
                                      <a:pt x="156" y="125"/>
                                    </a:lnTo>
                                    <a:lnTo>
                                      <a:pt x="157" y="126"/>
                                    </a:lnTo>
                                    <a:lnTo>
                                      <a:pt x="157" y="126"/>
                                    </a:lnTo>
                                    <a:lnTo>
                                      <a:pt x="157" y="127"/>
                                    </a:lnTo>
                                    <a:lnTo>
                                      <a:pt x="157" y="127"/>
                                    </a:lnTo>
                                    <a:lnTo>
                                      <a:pt x="158" y="128"/>
                                    </a:lnTo>
                                    <a:lnTo>
                                      <a:pt x="158" y="128"/>
                                    </a:lnTo>
                                    <a:lnTo>
                                      <a:pt x="158" y="129"/>
                                    </a:lnTo>
                                    <a:lnTo>
                                      <a:pt x="158" y="129"/>
                                    </a:lnTo>
                                    <a:lnTo>
                                      <a:pt x="158" y="130"/>
                                    </a:lnTo>
                                    <a:lnTo>
                                      <a:pt x="158" y="130"/>
                                    </a:lnTo>
                                    <a:lnTo>
                                      <a:pt x="158" y="130"/>
                                    </a:lnTo>
                                    <a:lnTo>
                                      <a:pt x="158" y="130"/>
                                    </a:lnTo>
                                    <a:lnTo>
                                      <a:pt x="157" y="130"/>
                                    </a:lnTo>
                                    <a:lnTo>
                                      <a:pt x="157" y="130"/>
                                    </a:lnTo>
                                    <a:lnTo>
                                      <a:pt x="157" y="130"/>
                                    </a:lnTo>
                                    <a:lnTo>
                                      <a:pt x="156" y="130"/>
                                    </a:lnTo>
                                    <a:lnTo>
                                      <a:pt x="156" y="130"/>
                                    </a:lnTo>
                                    <a:lnTo>
                                      <a:pt x="155" y="130"/>
                                    </a:lnTo>
                                    <a:lnTo>
                                      <a:pt x="155" y="130"/>
                                    </a:lnTo>
                                    <a:lnTo>
                                      <a:pt x="154" y="130"/>
                                    </a:lnTo>
                                    <a:lnTo>
                                      <a:pt x="154" y="130"/>
                                    </a:lnTo>
                                    <a:lnTo>
                                      <a:pt x="154" y="130"/>
                                    </a:lnTo>
                                    <a:lnTo>
                                      <a:pt x="153" y="130"/>
                                    </a:lnTo>
                                    <a:lnTo>
                                      <a:pt x="153" y="131"/>
                                    </a:lnTo>
                                    <a:lnTo>
                                      <a:pt x="153" y="131"/>
                                    </a:lnTo>
                                    <a:lnTo>
                                      <a:pt x="153" y="131"/>
                                    </a:lnTo>
                                    <a:lnTo>
                                      <a:pt x="153" y="132"/>
                                    </a:lnTo>
                                    <a:lnTo>
                                      <a:pt x="153" y="133"/>
                                    </a:lnTo>
                                    <a:lnTo>
                                      <a:pt x="153" y="135"/>
                                    </a:lnTo>
                                    <a:lnTo>
                                      <a:pt x="153" y="136"/>
                                    </a:lnTo>
                                    <a:lnTo>
                                      <a:pt x="153" y="137"/>
                                    </a:lnTo>
                                    <a:lnTo>
                                      <a:pt x="153" y="137"/>
                                    </a:lnTo>
                                    <a:lnTo>
                                      <a:pt x="153" y="138"/>
                                    </a:lnTo>
                                    <a:lnTo>
                                      <a:pt x="154" y="139"/>
                                    </a:lnTo>
                                    <a:lnTo>
                                      <a:pt x="154" y="140"/>
                                    </a:lnTo>
                                    <a:lnTo>
                                      <a:pt x="155" y="141"/>
                                    </a:lnTo>
                                    <a:lnTo>
                                      <a:pt x="155" y="142"/>
                                    </a:lnTo>
                                    <a:lnTo>
                                      <a:pt x="156" y="143"/>
                                    </a:lnTo>
                                    <a:lnTo>
                                      <a:pt x="156" y="144"/>
                                    </a:lnTo>
                                    <a:lnTo>
                                      <a:pt x="156" y="145"/>
                                    </a:lnTo>
                                    <a:lnTo>
                                      <a:pt x="157" y="145"/>
                                    </a:lnTo>
                                    <a:lnTo>
                                      <a:pt x="156" y="145"/>
                                    </a:lnTo>
                                    <a:lnTo>
                                      <a:pt x="156" y="145"/>
                                    </a:lnTo>
                                    <a:lnTo>
                                      <a:pt x="156" y="145"/>
                                    </a:lnTo>
                                    <a:lnTo>
                                      <a:pt x="155" y="145"/>
                                    </a:lnTo>
                                    <a:lnTo>
                                      <a:pt x="155" y="145"/>
                                    </a:lnTo>
                                    <a:lnTo>
                                      <a:pt x="154" y="145"/>
                                    </a:lnTo>
                                    <a:lnTo>
                                      <a:pt x="153" y="145"/>
                                    </a:lnTo>
                                    <a:lnTo>
                                      <a:pt x="152" y="145"/>
                                    </a:lnTo>
                                    <a:lnTo>
                                      <a:pt x="151" y="145"/>
                                    </a:lnTo>
                                    <a:lnTo>
                                      <a:pt x="152" y="145"/>
                                    </a:lnTo>
                                    <a:lnTo>
                                      <a:pt x="152" y="145"/>
                                    </a:lnTo>
                                    <a:lnTo>
                                      <a:pt x="152" y="144"/>
                                    </a:lnTo>
                                    <a:lnTo>
                                      <a:pt x="151" y="144"/>
                                    </a:lnTo>
                                    <a:lnTo>
                                      <a:pt x="151" y="144"/>
                                    </a:lnTo>
                                    <a:lnTo>
                                      <a:pt x="151" y="144"/>
                                    </a:lnTo>
                                    <a:lnTo>
                                      <a:pt x="151" y="144"/>
                                    </a:lnTo>
                                    <a:lnTo>
                                      <a:pt x="150" y="144"/>
                                    </a:lnTo>
                                    <a:lnTo>
                                      <a:pt x="149" y="143"/>
                                    </a:lnTo>
                                    <a:lnTo>
                                      <a:pt x="148" y="143"/>
                                    </a:lnTo>
                                    <a:lnTo>
                                      <a:pt x="148" y="143"/>
                                    </a:lnTo>
                                    <a:lnTo>
                                      <a:pt x="147" y="142"/>
                                    </a:lnTo>
                                    <a:lnTo>
                                      <a:pt x="146" y="142"/>
                                    </a:lnTo>
                                    <a:lnTo>
                                      <a:pt x="146" y="142"/>
                                    </a:lnTo>
                                    <a:lnTo>
                                      <a:pt x="145" y="142"/>
                                    </a:lnTo>
                                    <a:lnTo>
                                      <a:pt x="145" y="142"/>
                                    </a:lnTo>
                                    <a:lnTo>
                                      <a:pt x="144" y="142"/>
                                    </a:lnTo>
                                    <a:lnTo>
                                      <a:pt x="144" y="142"/>
                                    </a:lnTo>
                                    <a:lnTo>
                                      <a:pt x="143" y="142"/>
                                    </a:lnTo>
                                    <a:lnTo>
                                      <a:pt x="141" y="142"/>
                                    </a:lnTo>
                                    <a:lnTo>
                                      <a:pt x="140" y="142"/>
                                    </a:lnTo>
                                    <a:lnTo>
                                      <a:pt x="138" y="142"/>
                                    </a:lnTo>
                                    <a:lnTo>
                                      <a:pt x="137" y="142"/>
                                    </a:lnTo>
                                    <a:lnTo>
                                      <a:pt x="136" y="142"/>
                                    </a:lnTo>
                                    <a:lnTo>
                                      <a:pt x="135" y="141"/>
                                    </a:lnTo>
                                    <a:lnTo>
                                      <a:pt x="135" y="141"/>
                                    </a:lnTo>
                                    <a:lnTo>
                                      <a:pt x="134" y="141"/>
                                    </a:lnTo>
                                    <a:lnTo>
                                      <a:pt x="134" y="140"/>
                                    </a:lnTo>
                                    <a:lnTo>
                                      <a:pt x="134" y="140"/>
                                    </a:lnTo>
                                    <a:lnTo>
                                      <a:pt x="133" y="139"/>
                                    </a:lnTo>
                                    <a:lnTo>
                                      <a:pt x="133" y="139"/>
                                    </a:lnTo>
                                    <a:lnTo>
                                      <a:pt x="133" y="138"/>
                                    </a:lnTo>
                                    <a:lnTo>
                                      <a:pt x="133" y="138"/>
                                    </a:lnTo>
                                    <a:lnTo>
                                      <a:pt x="133" y="137"/>
                                    </a:lnTo>
                                    <a:lnTo>
                                      <a:pt x="133" y="137"/>
                                    </a:lnTo>
                                    <a:lnTo>
                                      <a:pt x="133" y="137"/>
                                    </a:lnTo>
                                    <a:lnTo>
                                      <a:pt x="132" y="137"/>
                                    </a:lnTo>
                                    <a:lnTo>
                                      <a:pt x="132" y="137"/>
                                    </a:lnTo>
                                    <a:lnTo>
                                      <a:pt x="128" y="137"/>
                                    </a:lnTo>
                                    <a:lnTo>
                                      <a:pt x="125" y="137"/>
                                    </a:lnTo>
                                    <a:lnTo>
                                      <a:pt x="121" y="137"/>
                                    </a:lnTo>
                                    <a:lnTo>
                                      <a:pt x="118" y="137"/>
                                    </a:lnTo>
                                    <a:lnTo>
                                      <a:pt x="118" y="136"/>
                                    </a:lnTo>
                                    <a:lnTo>
                                      <a:pt x="118" y="136"/>
                                    </a:lnTo>
                                    <a:lnTo>
                                      <a:pt x="118" y="136"/>
                                    </a:lnTo>
                                    <a:lnTo>
                                      <a:pt x="118" y="136"/>
                                    </a:lnTo>
                                    <a:lnTo>
                                      <a:pt x="118" y="135"/>
                                    </a:lnTo>
                                    <a:lnTo>
                                      <a:pt x="117" y="135"/>
                                    </a:lnTo>
                                    <a:lnTo>
                                      <a:pt x="117" y="135"/>
                                    </a:lnTo>
                                    <a:lnTo>
                                      <a:pt x="114" y="136"/>
                                    </a:lnTo>
                                    <a:lnTo>
                                      <a:pt x="112" y="136"/>
                                    </a:lnTo>
                                    <a:lnTo>
                                      <a:pt x="110" y="136"/>
                                    </a:lnTo>
                                    <a:lnTo>
                                      <a:pt x="107" y="137"/>
                                    </a:lnTo>
                                    <a:lnTo>
                                      <a:pt x="105" y="137"/>
                                    </a:lnTo>
                                    <a:lnTo>
                                      <a:pt x="102" y="137"/>
                                    </a:lnTo>
                                    <a:lnTo>
                                      <a:pt x="101" y="137"/>
                                    </a:lnTo>
                                    <a:lnTo>
                                      <a:pt x="99" y="137"/>
                                    </a:lnTo>
                                    <a:lnTo>
                                      <a:pt x="98" y="137"/>
                                    </a:lnTo>
                                    <a:lnTo>
                                      <a:pt x="97" y="137"/>
                                    </a:lnTo>
                                    <a:lnTo>
                                      <a:pt x="96" y="137"/>
                                    </a:lnTo>
                                    <a:lnTo>
                                      <a:pt x="95" y="137"/>
                                    </a:lnTo>
                                    <a:lnTo>
                                      <a:pt x="94" y="137"/>
                                    </a:lnTo>
                                    <a:lnTo>
                                      <a:pt x="93" y="137"/>
                                    </a:lnTo>
                                    <a:lnTo>
                                      <a:pt x="93" y="137"/>
                                    </a:lnTo>
                                    <a:lnTo>
                                      <a:pt x="92" y="137"/>
                                    </a:lnTo>
                                    <a:lnTo>
                                      <a:pt x="92" y="137"/>
                                    </a:lnTo>
                                    <a:lnTo>
                                      <a:pt x="92" y="138"/>
                                    </a:lnTo>
                                    <a:lnTo>
                                      <a:pt x="92" y="138"/>
                                    </a:lnTo>
                                    <a:lnTo>
                                      <a:pt x="92" y="138"/>
                                    </a:lnTo>
                                    <a:lnTo>
                                      <a:pt x="92" y="139"/>
                                    </a:lnTo>
                                    <a:lnTo>
                                      <a:pt x="90" y="139"/>
                                    </a:lnTo>
                                    <a:lnTo>
                                      <a:pt x="89" y="139"/>
                                    </a:lnTo>
                                    <a:lnTo>
                                      <a:pt x="88" y="139"/>
                                    </a:lnTo>
                                    <a:lnTo>
                                      <a:pt x="87" y="139"/>
                                    </a:lnTo>
                                    <a:lnTo>
                                      <a:pt x="86" y="138"/>
                                    </a:lnTo>
                                    <a:lnTo>
                                      <a:pt x="86" y="138"/>
                                    </a:lnTo>
                                    <a:lnTo>
                                      <a:pt x="84" y="138"/>
                                    </a:lnTo>
                                    <a:lnTo>
                                      <a:pt x="83" y="137"/>
                                    </a:lnTo>
                                    <a:lnTo>
                                      <a:pt x="82" y="137"/>
                                    </a:lnTo>
                                    <a:lnTo>
                                      <a:pt x="81" y="137"/>
                                    </a:lnTo>
                                    <a:lnTo>
                                      <a:pt x="80" y="137"/>
                                    </a:lnTo>
                                    <a:lnTo>
                                      <a:pt x="79" y="137"/>
                                    </a:lnTo>
                                    <a:lnTo>
                                      <a:pt x="78" y="137"/>
                                    </a:lnTo>
                                    <a:lnTo>
                                      <a:pt x="77" y="137"/>
                                    </a:lnTo>
                                    <a:lnTo>
                                      <a:pt x="76" y="137"/>
                                    </a:lnTo>
                                    <a:lnTo>
                                      <a:pt x="76" y="137"/>
                                    </a:lnTo>
                                    <a:lnTo>
                                      <a:pt x="75" y="137"/>
                                    </a:lnTo>
                                    <a:lnTo>
                                      <a:pt x="75" y="137"/>
                                    </a:lnTo>
                                    <a:lnTo>
                                      <a:pt x="75" y="137"/>
                                    </a:lnTo>
                                    <a:lnTo>
                                      <a:pt x="75" y="138"/>
                                    </a:lnTo>
                                    <a:lnTo>
                                      <a:pt x="75" y="138"/>
                                    </a:lnTo>
                                    <a:lnTo>
                                      <a:pt x="75" y="139"/>
                                    </a:lnTo>
                                    <a:lnTo>
                                      <a:pt x="75" y="139"/>
                                    </a:lnTo>
                                    <a:lnTo>
                                      <a:pt x="74" y="139"/>
                                    </a:lnTo>
                                    <a:lnTo>
                                      <a:pt x="74" y="139"/>
                                    </a:lnTo>
                                    <a:lnTo>
                                      <a:pt x="74" y="139"/>
                                    </a:lnTo>
                                    <a:lnTo>
                                      <a:pt x="73" y="139"/>
                                    </a:lnTo>
                                    <a:lnTo>
                                      <a:pt x="73" y="139"/>
                                    </a:lnTo>
                                    <a:lnTo>
                                      <a:pt x="72" y="139"/>
                                    </a:lnTo>
                                    <a:lnTo>
                                      <a:pt x="72" y="139"/>
                                    </a:lnTo>
                                    <a:lnTo>
                                      <a:pt x="72" y="139"/>
                                    </a:lnTo>
                                    <a:lnTo>
                                      <a:pt x="72" y="139"/>
                                    </a:lnTo>
                                    <a:lnTo>
                                      <a:pt x="72" y="140"/>
                                    </a:lnTo>
                                    <a:lnTo>
                                      <a:pt x="72" y="140"/>
                                    </a:lnTo>
                                    <a:lnTo>
                                      <a:pt x="72" y="140"/>
                                    </a:lnTo>
                                    <a:lnTo>
                                      <a:pt x="71" y="140"/>
                                    </a:lnTo>
                                    <a:lnTo>
                                      <a:pt x="71" y="140"/>
                                    </a:lnTo>
                                    <a:lnTo>
                                      <a:pt x="71" y="140"/>
                                    </a:lnTo>
                                    <a:lnTo>
                                      <a:pt x="70" y="140"/>
                                    </a:lnTo>
                                    <a:lnTo>
                                      <a:pt x="70" y="140"/>
                                    </a:lnTo>
                                    <a:lnTo>
                                      <a:pt x="69" y="140"/>
                                    </a:lnTo>
                                    <a:lnTo>
                                      <a:pt x="68" y="140"/>
                                    </a:lnTo>
                                    <a:lnTo>
                                      <a:pt x="67" y="140"/>
                                    </a:lnTo>
                                    <a:lnTo>
                                      <a:pt x="66" y="140"/>
                                    </a:lnTo>
                                    <a:lnTo>
                                      <a:pt x="64" y="140"/>
                                    </a:lnTo>
                                    <a:lnTo>
                                      <a:pt x="61" y="140"/>
                                    </a:lnTo>
                                    <a:lnTo>
                                      <a:pt x="60" y="140"/>
                                    </a:lnTo>
                                    <a:lnTo>
                                      <a:pt x="59" y="140"/>
                                    </a:lnTo>
                                    <a:lnTo>
                                      <a:pt x="58" y="140"/>
                                    </a:lnTo>
                                    <a:lnTo>
                                      <a:pt x="57" y="140"/>
                                    </a:lnTo>
                                    <a:lnTo>
                                      <a:pt x="57" y="140"/>
                                    </a:lnTo>
                                    <a:lnTo>
                                      <a:pt x="56" y="141"/>
                                    </a:lnTo>
                                    <a:lnTo>
                                      <a:pt x="55" y="141"/>
                                    </a:lnTo>
                                    <a:lnTo>
                                      <a:pt x="55" y="142"/>
                                    </a:lnTo>
                                    <a:lnTo>
                                      <a:pt x="55" y="142"/>
                                    </a:lnTo>
                                    <a:lnTo>
                                      <a:pt x="54" y="142"/>
                                    </a:lnTo>
                                    <a:lnTo>
                                      <a:pt x="54" y="142"/>
                                    </a:lnTo>
                                    <a:lnTo>
                                      <a:pt x="53" y="142"/>
                                    </a:lnTo>
                                    <a:lnTo>
                                      <a:pt x="53" y="142"/>
                                    </a:lnTo>
                                    <a:lnTo>
                                      <a:pt x="52" y="142"/>
                                    </a:lnTo>
                                    <a:lnTo>
                                      <a:pt x="52" y="143"/>
                                    </a:lnTo>
                                    <a:lnTo>
                                      <a:pt x="52" y="143"/>
                                    </a:lnTo>
                                    <a:lnTo>
                                      <a:pt x="52" y="143"/>
                                    </a:lnTo>
                                    <a:lnTo>
                                      <a:pt x="52" y="144"/>
                                    </a:lnTo>
                                    <a:lnTo>
                                      <a:pt x="51" y="144"/>
                                    </a:lnTo>
                                    <a:lnTo>
                                      <a:pt x="51" y="143"/>
                                    </a:lnTo>
                                    <a:lnTo>
                                      <a:pt x="50" y="144"/>
                                    </a:lnTo>
                                    <a:lnTo>
                                      <a:pt x="50" y="144"/>
                                    </a:lnTo>
                                    <a:lnTo>
                                      <a:pt x="50" y="144"/>
                                    </a:lnTo>
                                    <a:lnTo>
                                      <a:pt x="50" y="145"/>
                                    </a:lnTo>
                                    <a:lnTo>
                                      <a:pt x="50" y="145"/>
                                    </a:lnTo>
                                    <a:lnTo>
                                      <a:pt x="50" y="145"/>
                                    </a:lnTo>
                                    <a:lnTo>
                                      <a:pt x="49" y="145"/>
                                    </a:lnTo>
                                    <a:lnTo>
                                      <a:pt x="48" y="145"/>
                                    </a:lnTo>
                                    <a:lnTo>
                                      <a:pt x="46" y="145"/>
                                    </a:lnTo>
                                    <a:lnTo>
                                      <a:pt x="45" y="145"/>
                                    </a:lnTo>
                                    <a:lnTo>
                                      <a:pt x="45" y="145"/>
                                    </a:lnTo>
                                    <a:lnTo>
                                      <a:pt x="44" y="144"/>
                                    </a:lnTo>
                                    <a:lnTo>
                                      <a:pt x="44" y="144"/>
                                    </a:lnTo>
                                    <a:lnTo>
                                      <a:pt x="44" y="143"/>
                                    </a:lnTo>
                                    <a:lnTo>
                                      <a:pt x="43" y="143"/>
                                    </a:lnTo>
                                    <a:lnTo>
                                      <a:pt x="43" y="142"/>
                                    </a:lnTo>
                                    <a:lnTo>
                                      <a:pt x="43" y="140"/>
                                    </a:lnTo>
                                    <a:lnTo>
                                      <a:pt x="43" y="139"/>
                                    </a:lnTo>
                                    <a:lnTo>
                                      <a:pt x="43" y="137"/>
                                    </a:lnTo>
                                    <a:lnTo>
                                      <a:pt x="43" y="135"/>
                                    </a:lnTo>
                                    <a:lnTo>
                                      <a:pt x="43" y="134"/>
                                    </a:lnTo>
                                    <a:lnTo>
                                      <a:pt x="42" y="133"/>
                                    </a:lnTo>
                                    <a:lnTo>
                                      <a:pt x="41" y="131"/>
                                    </a:lnTo>
                                    <a:lnTo>
                                      <a:pt x="40" y="130"/>
                                    </a:lnTo>
                                    <a:lnTo>
                                      <a:pt x="40" y="129"/>
                                    </a:lnTo>
                                    <a:lnTo>
                                      <a:pt x="39" y="128"/>
                                    </a:lnTo>
                                    <a:lnTo>
                                      <a:pt x="38" y="126"/>
                                    </a:lnTo>
                                    <a:lnTo>
                                      <a:pt x="38" y="125"/>
                                    </a:lnTo>
                                    <a:lnTo>
                                      <a:pt x="37" y="123"/>
                                    </a:lnTo>
                                    <a:lnTo>
                                      <a:pt x="36" y="120"/>
                                    </a:lnTo>
                                    <a:lnTo>
                                      <a:pt x="35" y="117"/>
                                    </a:lnTo>
                                    <a:lnTo>
                                      <a:pt x="34" y="114"/>
                                    </a:lnTo>
                                    <a:lnTo>
                                      <a:pt x="33" y="111"/>
                                    </a:lnTo>
                                    <a:lnTo>
                                      <a:pt x="33" y="110"/>
                                    </a:lnTo>
                                    <a:lnTo>
                                      <a:pt x="32" y="109"/>
                                    </a:lnTo>
                                    <a:lnTo>
                                      <a:pt x="32" y="108"/>
                                    </a:lnTo>
                                    <a:lnTo>
                                      <a:pt x="31" y="107"/>
                                    </a:lnTo>
                                    <a:lnTo>
                                      <a:pt x="30" y="106"/>
                                    </a:lnTo>
                                    <a:lnTo>
                                      <a:pt x="30" y="106"/>
                                    </a:lnTo>
                                    <a:lnTo>
                                      <a:pt x="29" y="105"/>
                                    </a:lnTo>
                                    <a:lnTo>
                                      <a:pt x="28" y="105"/>
                                    </a:lnTo>
                                    <a:lnTo>
                                      <a:pt x="27" y="104"/>
                                    </a:lnTo>
                                    <a:lnTo>
                                      <a:pt x="26" y="104"/>
                                    </a:lnTo>
                                    <a:lnTo>
                                      <a:pt x="24" y="103"/>
                                    </a:lnTo>
                                    <a:lnTo>
                                      <a:pt x="22" y="103"/>
                                    </a:lnTo>
                                    <a:lnTo>
                                      <a:pt x="20" y="102"/>
                                    </a:lnTo>
                                    <a:lnTo>
                                      <a:pt x="18" y="100"/>
                                    </a:lnTo>
                                    <a:lnTo>
                                      <a:pt x="16" y="98"/>
                                    </a:lnTo>
                                    <a:lnTo>
                                      <a:pt x="13" y="93"/>
                                    </a:lnTo>
                                    <a:lnTo>
                                      <a:pt x="11" y="91"/>
                                    </a:lnTo>
                                    <a:lnTo>
                                      <a:pt x="9" y="89"/>
                                    </a:lnTo>
                                    <a:lnTo>
                                      <a:pt x="7" y="86"/>
                                    </a:lnTo>
                                    <a:lnTo>
                                      <a:pt x="6" y="84"/>
                                    </a:lnTo>
                                    <a:lnTo>
                                      <a:pt x="4" y="81"/>
                                    </a:lnTo>
                                    <a:lnTo>
                                      <a:pt x="4" y="80"/>
                                    </a:lnTo>
                                    <a:lnTo>
                                      <a:pt x="3" y="78"/>
                                    </a:lnTo>
                                    <a:lnTo>
                                      <a:pt x="3" y="77"/>
                                    </a:lnTo>
                                    <a:lnTo>
                                      <a:pt x="2" y="76"/>
                                    </a:lnTo>
                                    <a:lnTo>
                                      <a:pt x="1" y="74"/>
                                    </a:lnTo>
                                    <a:lnTo>
                                      <a:pt x="1" y="72"/>
                                    </a:lnTo>
                                    <a:lnTo>
                                      <a:pt x="1" y="71"/>
                                    </a:lnTo>
                                    <a:lnTo>
                                      <a:pt x="0" y="69"/>
                                    </a:lnTo>
                                    <a:lnTo>
                                      <a:pt x="0" y="67"/>
                                    </a:lnTo>
                                    <a:lnTo>
                                      <a:pt x="0" y="65"/>
                                    </a:lnTo>
                                    <a:lnTo>
                                      <a:pt x="0" y="63"/>
                                    </a:lnTo>
                                    <a:lnTo>
                                      <a:pt x="0" y="61"/>
                                    </a:lnTo>
                                    <a:lnTo>
                                      <a:pt x="0" y="59"/>
                                    </a:lnTo>
                                    <a:lnTo>
                                      <a:pt x="0" y="57"/>
                                    </a:lnTo>
                                    <a:lnTo>
                                      <a:pt x="0" y="55"/>
                                    </a:lnTo>
                                    <a:lnTo>
                                      <a:pt x="0" y="54"/>
                                    </a:lnTo>
                                    <a:lnTo>
                                      <a:pt x="1" y="52"/>
                                    </a:lnTo>
                                    <a:lnTo>
                                      <a:pt x="1" y="51"/>
                                    </a:lnTo>
                                    <a:lnTo>
                                      <a:pt x="1" y="49"/>
                                    </a:lnTo>
                                    <a:lnTo>
                                      <a:pt x="2" y="48"/>
                                    </a:lnTo>
                                    <a:lnTo>
                                      <a:pt x="3" y="47"/>
                                    </a:lnTo>
                                    <a:lnTo>
                                      <a:pt x="3" y="45"/>
                                    </a:lnTo>
                                    <a:lnTo>
                                      <a:pt x="4" y="44"/>
                                    </a:lnTo>
                                    <a:lnTo>
                                      <a:pt x="5" y="43"/>
                                    </a:lnTo>
                                    <a:lnTo>
                                      <a:pt x="6" y="42"/>
                                    </a:lnTo>
                                    <a:lnTo>
                                      <a:pt x="7" y="40"/>
                                    </a:lnTo>
                                    <a:lnTo>
                                      <a:pt x="8" y="39"/>
                                    </a:lnTo>
                                    <a:lnTo>
                                      <a:pt x="9" y="38"/>
                                    </a:lnTo>
                                    <a:lnTo>
                                      <a:pt x="10" y="37"/>
                                    </a:lnTo>
                                    <a:lnTo>
                                      <a:pt x="11" y="36"/>
                                    </a:lnTo>
                                    <a:lnTo>
                                      <a:pt x="12" y="35"/>
                                    </a:lnTo>
                                    <a:lnTo>
                                      <a:pt x="14" y="34"/>
                                    </a:lnTo>
                                    <a:lnTo>
                                      <a:pt x="15" y="33"/>
                                    </a:lnTo>
                                    <a:lnTo>
                                      <a:pt x="16" y="32"/>
                                    </a:lnTo>
                                    <a:lnTo>
                                      <a:pt x="19" y="30"/>
                                    </a:lnTo>
                                    <a:lnTo>
                                      <a:pt x="22" y="29"/>
                                    </a:lnTo>
                                    <a:lnTo>
                                      <a:pt x="25" y="27"/>
                                    </a:lnTo>
                                    <a:lnTo>
                                      <a:pt x="28" y="26"/>
                                    </a:lnTo>
                                    <a:lnTo>
                                      <a:pt x="32" y="25"/>
                                    </a:lnTo>
                                    <a:lnTo>
                                      <a:pt x="35" y="24"/>
                                    </a:lnTo>
                                    <a:lnTo>
                                      <a:pt x="44" y="24"/>
                                    </a:lnTo>
                                    <a:lnTo>
                                      <a:pt x="53" y="24"/>
                                    </a:lnTo>
                                    <a:lnTo>
                                      <a:pt x="62" y="24"/>
                                    </a:lnTo>
                                    <a:lnTo>
                                      <a:pt x="67" y="24"/>
                                    </a:lnTo>
                                    <a:lnTo>
                                      <a:pt x="72" y="24"/>
                                    </a:lnTo>
                                    <a:lnTo>
                                      <a:pt x="72" y="23"/>
                                    </a:lnTo>
                                    <a:lnTo>
                                      <a:pt x="71" y="22"/>
                                    </a:lnTo>
                                    <a:lnTo>
                                      <a:pt x="71" y="21"/>
                                    </a:lnTo>
                                    <a:lnTo>
                                      <a:pt x="71" y="21"/>
                                    </a:lnTo>
                                    <a:lnTo>
                                      <a:pt x="72" y="20"/>
                                    </a:lnTo>
                                    <a:lnTo>
                                      <a:pt x="72" y="19"/>
                                    </a:lnTo>
                                    <a:lnTo>
                                      <a:pt x="72" y="19"/>
                                    </a:lnTo>
                                    <a:lnTo>
                                      <a:pt x="72" y="18"/>
                                    </a:lnTo>
                                    <a:lnTo>
                                      <a:pt x="73" y="17"/>
                                    </a:lnTo>
                                    <a:lnTo>
                                      <a:pt x="73" y="16"/>
                                    </a:lnTo>
                                    <a:lnTo>
                                      <a:pt x="74" y="15"/>
                                    </a:lnTo>
                                    <a:lnTo>
                                      <a:pt x="75" y="14"/>
                                    </a:lnTo>
                                    <a:lnTo>
                                      <a:pt x="75" y="13"/>
                                    </a:lnTo>
                                    <a:lnTo>
                                      <a:pt x="76" y="12"/>
                                    </a:lnTo>
                                    <a:lnTo>
                                      <a:pt x="76" y="11"/>
                                    </a:lnTo>
                                    <a:lnTo>
                                      <a:pt x="76" y="11"/>
                                    </a:lnTo>
                                    <a:lnTo>
                                      <a:pt x="76" y="10"/>
                                    </a:lnTo>
                                    <a:lnTo>
                                      <a:pt x="76" y="10"/>
                                    </a:lnTo>
                                    <a:lnTo>
                                      <a:pt x="76" y="9"/>
                                    </a:lnTo>
                                    <a:lnTo>
                                      <a:pt x="76" y="8"/>
                                    </a:lnTo>
                                    <a:lnTo>
                                      <a:pt x="76" y="8"/>
                                    </a:lnTo>
                                    <a:lnTo>
                                      <a:pt x="76" y="7"/>
                                    </a:lnTo>
                                    <a:lnTo>
                                      <a:pt x="76" y="7"/>
                                    </a:lnTo>
                                    <a:lnTo>
                                      <a:pt x="75" y="6"/>
                                    </a:lnTo>
                                    <a:lnTo>
                                      <a:pt x="75" y="6"/>
                                    </a:lnTo>
                                    <a:lnTo>
                                      <a:pt x="76" y="5"/>
                                    </a:lnTo>
                                    <a:lnTo>
                                      <a:pt x="77" y="4"/>
                                    </a:lnTo>
                                    <a:lnTo>
                                      <a:pt x="78" y="3"/>
                                    </a:lnTo>
                                    <a:lnTo>
                                      <a:pt x="79" y="2"/>
                                    </a:lnTo>
                                    <a:lnTo>
                                      <a:pt x="81" y="2"/>
                                    </a:lnTo>
                                    <a:lnTo>
                                      <a:pt x="82" y="1"/>
                                    </a:lnTo>
                                    <a:lnTo>
                                      <a:pt x="83" y="1"/>
                                    </a:lnTo>
                                    <a:lnTo>
                                      <a:pt x="84" y="0"/>
                                    </a:lnTo>
                                    <a:lnTo>
                                      <a:pt x="85" y="0"/>
                                    </a:lnTo>
                                    <a:lnTo>
                                      <a:pt x="87" y="0"/>
                                    </a:lnTo>
                                    <a:lnTo>
                                      <a:pt x="88" y="0"/>
                                    </a:lnTo>
                                    <a:lnTo>
                                      <a:pt x="89" y="0"/>
                                    </a:lnTo>
                                    <a:lnTo>
                                      <a:pt x="91" y="0"/>
                                    </a:lnTo>
                                    <a:lnTo>
                                      <a:pt x="92" y="0"/>
                                    </a:lnTo>
                                    <a:lnTo>
                                      <a:pt x="93" y="0"/>
                                    </a:lnTo>
                                    <a:lnTo>
                                      <a:pt x="95" y="0"/>
                                    </a:lnTo>
                                    <a:lnTo>
                                      <a:pt x="96" y="0"/>
                                    </a:lnTo>
                                    <a:lnTo>
                                      <a:pt x="98" y="0"/>
                                    </a:lnTo>
                                    <a:lnTo>
                                      <a:pt x="100" y="1"/>
                                    </a:lnTo>
                                    <a:lnTo>
                                      <a:pt x="103" y="1"/>
                                    </a:lnTo>
                                    <a:lnTo>
                                      <a:pt x="106" y="2"/>
                                    </a:lnTo>
                                    <a:lnTo>
                                      <a:pt x="109" y="3"/>
                                    </a:lnTo>
                                    <a:lnTo>
                                      <a:pt x="111" y="4"/>
                                    </a:lnTo>
                                    <a:lnTo>
                                      <a:pt x="114" y="5"/>
                                    </a:lnTo>
                                    <a:lnTo>
                                      <a:pt x="117" y="6"/>
                                    </a:lnTo>
                                    <a:lnTo>
                                      <a:pt x="117" y="5"/>
                                    </a:lnTo>
                                    <a:lnTo>
                                      <a:pt x="118" y="5"/>
                                    </a:lnTo>
                                    <a:lnTo>
                                      <a:pt x="119" y="5"/>
                                    </a:lnTo>
                                    <a:lnTo>
                                      <a:pt x="119" y="5"/>
                                    </a:lnTo>
                                    <a:lnTo>
                                      <a:pt x="120" y="5"/>
                                    </a:lnTo>
                                    <a:lnTo>
                                      <a:pt x="120" y="4"/>
                                    </a:lnTo>
                                    <a:lnTo>
                                      <a:pt x="120" y="4"/>
                                    </a:lnTo>
                                    <a:lnTo>
                                      <a:pt x="121" y="4"/>
                                    </a:lnTo>
                                    <a:lnTo>
                                      <a:pt x="121" y="4"/>
                                    </a:lnTo>
                                    <a:lnTo>
                                      <a:pt x="121" y="4"/>
                                    </a:lnTo>
                                    <a:lnTo>
                                      <a:pt x="122" y="4"/>
                                    </a:lnTo>
                                    <a:lnTo>
                                      <a:pt x="122" y="4"/>
                                    </a:lnTo>
                                    <a:lnTo>
                                      <a:pt x="122" y="4"/>
                                    </a:lnTo>
                                    <a:lnTo>
                                      <a:pt x="122" y="4"/>
                                    </a:lnTo>
                                    <a:lnTo>
                                      <a:pt x="122" y="4"/>
                                    </a:lnTo>
                                    <a:lnTo>
                                      <a:pt x="123" y="4"/>
                                    </a:lnTo>
                                    <a:lnTo>
                                      <a:pt x="123" y="3"/>
                                    </a:lnTo>
                                    <a:lnTo>
                                      <a:pt x="123" y="3"/>
                                    </a:lnTo>
                                    <a:lnTo>
                                      <a:pt x="124" y="3"/>
                                    </a:lnTo>
                                    <a:lnTo>
                                      <a:pt x="124" y="3"/>
                                    </a:lnTo>
                                    <a:lnTo>
                                      <a:pt x="125" y="3"/>
                                    </a:lnTo>
                                    <a:lnTo>
                                      <a:pt x="125" y="3"/>
                                    </a:lnTo>
                                    <a:lnTo>
                                      <a:pt x="125" y="3"/>
                                    </a:lnTo>
                                    <a:lnTo>
                                      <a:pt x="126" y="2"/>
                                    </a:lnTo>
                                    <a:lnTo>
                                      <a:pt x="127" y="2"/>
                                    </a:lnTo>
                                  </a:path>
                                </a:pathLst>
                              </a:custGeom>
                              <a:solidFill>
                                <a:schemeClr val="accent1">
                                  <a:lumMod val="75000"/>
                                </a:schemeClr>
                              </a:solidFill>
                              <a:ln w="3175">
                                <a:solidFill>
                                  <a:schemeClr val="bg1"/>
                                </a:solidFill>
                              </a:ln>
                            </p:spPr>
                            <p:style>
                              <a:lnRef idx="2">
                                <a:schemeClr val="accent1">
                                  <a:shade val="50000"/>
                                </a:schemeClr>
                              </a:lnRef>
                              <a:fillRef idx="1">
                                <a:schemeClr val="accent1"/>
                              </a:fillRef>
                              <a:effectRef idx="0">
                                <a:schemeClr val="accent1"/>
                              </a:effectRef>
                              <a:fontRef idx="minor">
                                <a:schemeClr val="lt1"/>
                              </a:fontRef>
                            </p:style>
                            <p:txBody>
                              <a:bodyPr lIns="104000" tIns="104000" rIns="104000" bIns="104000" anchor="ctr"/>
                              <a:lstStyle/>
                              <a:p>
                                <a:pPr algn="ctr" defTabSz="457200">
                                  <a:lnSpc>
                                    <a:spcPct val="90000"/>
                                  </a:lnSpc>
                                  <a:buClr>
                                    <a:srgbClr val="0563C1"/>
                                  </a:buClr>
                                  <a:buSzPct val="110000"/>
                                  <a:defRPr/>
                                </a:pPr>
                                <a:endParaRPr lang="en-US" sz="1050" dirty="0">
                                  <a:solidFill>
                                    <a:prstClr val="white"/>
                                  </a:solidFill>
                                </a:endParaRPr>
                              </a:p>
                            </p:txBody>
                          </p:sp>
                          <p:sp>
                            <p:nvSpPr>
                              <p:cNvPr id="141" name="Freeform 11"/>
                              <p:cNvSpPr>
                                <a:spLocks/>
                              </p:cNvSpPr>
                              <p:nvPr/>
                            </p:nvSpPr>
                            <p:spPr bwMode="auto">
                              <a:xfrm>
                                <a:off x="2633143" y="3847100"/>
                                <a:ext cx="1968138" cy="1790200"/>
                              </a:xfrm>
                              <a:custGeom>
                                <a:avLst/>
                                <a:gdLst/>
                                <a:ahLst/>
                                <a:cxnLst>
                                  <a:cxn ang="0">
                                    <a:pos x="107" y="35"/>
                                  </a:cxn>
                                  <a:cxn ang="0">
                                    <a:pos x="125" y="42"/>
                                  </a:cxn>
                                  <a:cxn ang="0">
                                    <a:pos x="152" y="58"/>
                                  </a:cxn>
                                  <a:cxn ang="0">
                                    <a:pos x="180" y="59"/>
                                  </a:cxn>
                                  <a:cxn ang="0">
                                    <a:pos x="185" y="69"/>
                                  </a:cxn>
                                  <a:cxn ang="0">
                                    <a:pos x="183" y="80"/>
                                  </a:cxn>
                                  <a:cxn ang="0">
                                    <a:pos x="189" y="87"/>
                                  </a:cxn>
                                  <a:cxn ang="0">
                                    <a:pos x="190" y="110"/>
                                  </a:cxn>
                                  <a:cxn ang="0">
                                    <a:pos x="198" y="117"/>
                                  </a:cxn>
                                  <a:cxn ang="0">
                                    <a:pos x="197" y="131"/>
                                  </a:cxn>
                                  <a:cxn ang="0">
                                    <a:pos x="193" y="139"/>
                                  </a:cxn>
                                  <a:cxn ang="0">
                                    <a:pos x="195" y="145"/>
                                  </a:cxn>
                                  <a:cxn ang="0">
                                    <a:pos x="165" y="163"/>
                                  </a:cxn>
                                  <a:cxn ang="0">
                                    <a:pos x="160" y="156"/>
                                  </a:cxn>
                                  <a:cxn ang="0">
                                    <a:pos x="161" y="151"/>
                                  </a:cxn>
                                  <a:cxn ang="0">
                                    <a:pos x="159" y="149"/>
                                  </a:cxn>
                                  <a:cxn ang="0">
                                    <a:pos x="157" y="150"/>
                                  </a:cxn>
                                  <a:cxn ang="0">
                                    <a:pos x="151" y="151"/>
                                  </a:cxn>
                                  <a:cxn ang="0">
                                    <a:pos x="151" y="147"/>
                                  </a:cxn>
                                  <a:cxn ang="0">
                                    <a:pos x="147" y="140"/>
                                  </a:cxn>
                                  <a:cxn ang="0">
                                    <a:pos x="144" y="137"/>
                                  </a:cxn>
                                  <a:cxn ang="0">
                                    <a:pos x="139" y="134"/>
                                  </a:cxn>
                                  <a:cxn ang="0">
                                    <a:pos x="135" y="129"/>
                                  </a:cxn>
                                  <a:cxn ang="0">
                                    <a:pos x="132" y="125"/>
                                  </a:cxn>
                                  <a:cxn ang="0">
                                    <a:pos x="129" y="127"/>
                                  </a:cxn>
                                  <a:cxn ang="0">
                                    <a:pos x="125" y="129"/>
                                  </a:cxn>
                                  <a:cxn ang="0">
                                    <a:pos x="118" y="132"/>
                                  </a:cxn>
                                  <a:cxn ang="0">
                                    <a:pos x="113" y="130"/>
                                  </a:cxn>
                                  <a:cxn ang="0">
                                    <a:pos x="99" y="128"/>
                                  </a:cxn>
                                  <a:cxn ang="0">
                                    <a:pos x="93" y="127"/>
                                  </a:cxn>
                                  <a:cxn ang="0">
                                    <a:pos x="88" y="128"/>
                                  </a:cxn>
                                  <a:cxn ang="0">
                                    <a:pos x="78" y="129"/>
                                  </a:cxn>
                                  <a:cxn ang="0">
                                    <a:pos x="65" y="128"/>
                                  </a:cxn>
                                  <a:cxn ang="0">
                                    <a:pos x="61" y="124"/>
                                  </a:cxn>
                                  <a:cxn ang="0">
                                    <a:pos x="59" y="121"/>
                                  </a:cxn>
                                  <a:cxn ang="0">
                                    <a:pos x="56" y="116"/>
                                  </a:cxn>
                                  <a:cxn ang="0">
                                    <a:pos x="51" y="110"/>
                                  </a:cxn>
                                  <a:cxn ang="0">
                                    <a:pos x="50" y="102"/>
                                  </a:cxn>
                                  <a:cxn ang="0">
                                    <a:pos x="46" y="99"/>
                                  </a:cxn>
                                  <a:cxn ang="0">
                                    <a:pos x="42" y="97"/>
                                  </a:cxn>
                                  <a:cxn ang="0">
                                    <a:pos x="38" y="92"/>
                                  </a:cxn>
                                  <a:cxn ang="0">
                                    <a:pos x="35" y="90"/>
                                  </a:cxn>
                                  <a:cxn ang="0">
                                    <a:pos x="28" y="84"/>
                                  </a:cxn>
                                  <a:cxn ang="0">
                                    <a:pos x="24" y="82"/>
                                  </a:cxn>
                                  <a:cxn ang="0">
                                    <a:pos x="20" y="77"/>
                                  </a:cxn>
                                  <a:cxn ang="0">
                                    <a:pos x="17" y="75"/>
                                  </a:cxn>
                                  <a:cxn ang="0">
                                    <a:pos x="10" y="69"/>
                                  </a:cxn>
                                  <a:cxn ang="0">
                                    <a:pos x="7" y="67"/>
                                  </a:cxn>
                                  <a:cxn ang="0">
                                    <a:pos x="2" y="63"/>
                                  </a:cxn>
                                  <a:cxn ang="0">
                                    <a:pos x="0" y="59"/>
                                  </a:cxn>
                                  <a:cxn ang="0">
                                    <a:pos x="8" y="49"/>
                                  </a:cxn>
                                  <a:cxn ang="0">
                                    <a:pos x="18" y="41"/>
                                  </a:cxn>
                                  <a:cxn ang="0">
                                    <a:pos x="35" y="26"/>
                                  </a:cxn>
                                  <a:cxn ang="0">
                                    <a:pos x="44" y="18"/>
                                  </a:cxn>
                                  <a:cxn ang="0">
                                    <a:pos x="51" y="20"/>
                                  </a:cxn>
                                  <a:cxn ang="0">
                                    <a:pos x="59" y="5"/>
                                  </a:cxn>
                                  <a:cxn ang="0">
                                    <a:pos x="70" y="1"/>
                                  </a:cxn>
                                  <a:cxn ang="0">
                                    <a:pos x="81" y="11"/>
                                  </a:cxn>
                                  <a:cxn ang="0">
                                    <a:pos x="92" y="24"/>
                                  </a:cxn>
                                </a:cxnLst>
                                <a:rect l="0" t="0" r="r" b="b"/>
                                <a:pathLst>
                                  <a:path w="198" h="167">
                                    <a:moveTo>
                                      <a:pt x="98" y="25"/>
                                    </a:moveTo>
                                    <a:lnTo>
                                      <a:pt x="99" y="27"/>
                                    </a:lnTo>
                                    <a:lnTo>
                                      <a:pt x="99" y="28"/>
                                    </a:lnTo>
                                    <a:lnTo>
                                      <a:pt x="100" y="30"/>
                                    </a:lnTo>
                                    <a:lnTo>
                                      <a:pt x="101" y="31"/>
                                    </a:lnTo>
                                    <a:lnTo>
                                      <a:pt x="102" y="32"/>
                                    </a:lnTo>
                                    <a:lnTo>
                                      <a:pt x="103" y="33"/>
                                    </a:lnTo>
                                    <a:lnTo>
                                      <a:pt x="104" y="34"/>
                                    </a:lnTo>
                                    <a:lnTo>
                                      <a:pt x="106" y="35"/>
                                    </a:lnTo>
                                    <a:lnTo>
                                      <a:pt x="107" y="35"/>
                                    </a:lnTo>
                                    <a:lnTo>
                                      <a:pt x="109" y="36"/>
                                    </a:lnTo>
                                    <a:lnTo>
                                      <a:pt x="110" y="37"/>
                                    </a:lnTo>
                                    <a:lnTo>
                                      <a:pt x="112" y="37"/>
                                    </a:lnTo>
                                    <a:lnTo>
                                      <a:pt x="114" y="38"/>
                                    </a:lnTo>
                                    <a:lnTo>
                                      <a:pt x="116" y="38"/>
                                    </a:lnTo>
                                    <a:lnTo>
                                      <a:pt x="118" y="38"/>
                                    </a:lnTo>
                                    <a:lnTo>
                                      <a:pt x="120" y="39"/>
                                    </a:lnTo>
                                    <a:lnTo>
                                      <a:pt x="121" y="40"/>
                                    </a:lnTo>
                                    <a:lnTo>
                                      <a:pt x="123" y="41"/>
                                    </a:lnTo>
                                    <a:lnTo>
                                      <a:pt x="125" y="42"/>
                                    </a:lnTo>
                                    <a:lnTo>
                                      <a:pt x="127" y="44"/>
                                    </a:lnTo>
                                    <a:lnTo>
                                      <a:pt x="131" y="46"/>
                                    </a:lnTo>
                                    <a:lnTo>
                                      <a:pt x="134" y="48"/>
                                    </a:lnTo>
                                    <a:lnTo>
                                      <a:pt x="138" y="51"/>
                                    </a:lnTo>
                                    <a:lnTo>
                                      <a:pt x="142" y="53"/>
                                    </a:lnTo>
                                    <a:lnTo>
                                      <a:pt x="144" y="54"/>
                                    </a:lnTo>
                                    <a:lnTo>
                                      <a:pt x="146" y="56"/>
                                    </a:lnTo>
                                    <a:lnTo>
                                      <a:pt x="148" y="57"/>
                                    </a:lnTo>
                                    <a:lnTo>
                                      <a:pt x="149" y="58"/>
                                    </a:lnTo>
                                    <a:lnTo>
                                      <a:pt x="152" y="58"/>
                                    </a:lnTo>
                                    <a:lnTo>
                                      <a:pt x="154" y="58"/>
                                    </a:lnTo>
                                    <a:lnTo>
                                      <a:pt x="157" y="58"/>
                                    </a:lnTo>
                                    <a:lnTo>
                                      <a:pt x="159" y="58"/>
                                    </a:lnTo>
                                    <a:lnTo>
                                      <a:pt x="164" y="58"/>
                                    </a:lnTo>
                                    <a:lnTo>
                                      <a:pt x="169" y="58"/>
                                    </a:lnTo>
                                    <a:lnTo>
                                      <a:pt x="171" y="58"/>
                                    </a:lnTo>
                                    <a:lnTo>
                                      <a:pt x="174" y="58"/>
                                    </a:lnTo>
                                    <a:lnTo>
                                      <a:pt x="176" y="58"/>
                                    </a:lnTo>
                                    <a:lnTo>
                                      <a:pt x="178" y="58"/>
                                    </a:lnTo>
                                    <a:lnTo>
                                      <a:pt x="180" y="59"/>
                                    </a:lnTo>
                                    <a:lnTo>
                                      <a:pt x="182" y="59"/>
                                    </a:lnTo>
                                    <a:lnTo>
                                      <a:pt x="184" y="59"/>
                                    </a:lnTo>
                                    <a:lnTo>
                                      <a:pt x="186" y="60"/>
                                    </a:lnTo>
                                    <a:lnTo>
                                      <a:pt x="186" y="61"/>
                                    </a:lnTo>
                                    <a:lnTo>
                                      <a:pt x="186" y="63"/>
                                    </a:lnTo>
                                    <a:lnTo>
                                      <a:pt x="186" y="64"/>
                                    </a:lnTo>
                                    <a:lnTo>
                                      <a:pt x="186" y="65"/>
                                    </a:lnTo>
                                    <a:lnTo>
                                      <a:pt x="186" y="66"/>
                                    </a:lnTo>
                                    <a:lnTo>
                                      <a:pt x="186" y="67"/>
                                    </a:lnTo>
                                    <a:lnTo>
                                      <a:pt x="185" y="69"/>
                                    </a:lnTo>
                                    <a:lnTo>
                                      <a:pt x="184" y="71"/>
                                    </a:lnTo>
                                    <a:lnTo>
                                      <a:pt x="184" y="73"/>
                                    </a:lnTo>
                                    <a:lnTo>
                                      <a:pt x="183" y="75"/>
                                    </a:lnTo>
                                    <a:lnTo>
                                      <a:pt x="183" y="76"/>
                                    </a:lnTo>
                                    <a:lnTo>
                                      <a:pt x="183" y="77"/>
                                    </a:lnTo>
                                    <a:lnTo>
                                      <a:pt x="183" y="77"/>
                                    </a:lnTo>
                                    <a:lnTo>
                                      <a:pt x="183" y="78"/>
                                    </a:lnTo>
                                    <a:lnTo>
                                      <a:pt x="183" y="79"/>
                                    </a:lnTo>
                                    <a:lnTo>
                                      <a:pt x="183" y="79"/>
                                    </a:lnTo>
                                    <a:lnTo>
                                      <a:pt x="183" y="80"/>
                                    </a:lnTo>
                                    <a:lnTo>
                                      <a:pt x="183" y="81"/>
                                    </a:lnTo>
                                    <a:lnTo>
                                      <a:pt x="184" y="82"/>
                                    </a:lnTo>
                                    <a:lnTo>
                                      <a:pt x="184" y="82"/>
                                    </a:lnTo>
                                    <a:lnTo>
                                      <a:pt x="185" y="83"/>
                                    </a:lnTo>
                                    <a:lnTo>
                                      <a:pt x="185" y="84"/>
                                    </a:lnTo>
                                    <a:lnTo>
                                      <a:pt x="187" y="85"/>
                                    </a:lnTo>
                                    <a:lnTo>
                                      <a:pt x="187" y="85"/>
                                    </a:lnTo>
                                    <a:lnTo>
                                      <a:pt x="188" y="86"/>
                                    </a:lnTo>
                                    <a:lnTo>
                                      <a:pt x="188" y="86"/>
                                    </a:lnTo>
                                    <a:lnTo>
                                      <a:pt x="189" y="87"/>
                                    </a:lnTo>
                                    <a:lnTo>
                                      <a:pt x="189" y="88"/>
                                    </a:lnTo>
                                    <a:lnTo>
                                      <a:pt x="189" y="88"/>
                                    </a:lnTo>
                                    <a:lnTo>
                                      <a:pt x="189" y="93"/>
                                    </a:lnTo>
                                    <a:lnTo>
                                      <a:pt x="189" y="98"/>
                                    </a:lnTo>
                                    <a:lnTo>
                                      <a:pt x="189" y="102"/>
                                    </a:lnTo>
                                    <a:lnTo>
                                      <a:pt x="189" y="107"/>
                                    </a:lnTo>
                                    <a:lnTo>
                                      <a:pt x="190" y="108"/>
                                    </a:lnTo>
                                    <a:lnTo>
                                      <a:pt x="190" y="109"/>
                                    </a:lnTo>
                                    <a:lnTo>
                                      <a:pt x="190" y="110"/>
                                    </a:lnTo>
                                    <a:lnTo>
                                      <a:pt x="190" y="110"/>
                                    </a:lnTo>
                                    <a:lnTo>
                                      <a:pt x="191" y="111"/>
                                    </a:lnTo>
                                    <a:lnTo>
                                      <a:pt x="191" y="112"/>
                                    </a:lnTo>
                                    <a:lnTo>
                                      <a:pt x="192" y="112"/>
                                    </a:lnTo>
                                    <a:lnTo>
                                      <a:pt x="193" y="113"/>
                                    </a:lnTo>
                                    <a:lnTo>
                                      <a:pt x="194" y="113"/>
                                    </a:lnTo>
                                    <a:lnTo>
                                      <a:pt x="195" y="114"/>
                                    </a:lnTo>
                                    <a:lnTo>
                                      <a:pt x="196" y="115"/>
                                    </a:lnTo>
                                    <a:lnTo>
                                      <a:pt x="197" y="115"/>
                                    </a:lnTo>
                                    <a:lnTo>
                                      <a:pt x="197" y="116"/>
                                    </a:lnTo>
                                    <a:lnTo>
                                      <a:pt x="198" y="117"/>
                                    </a:lnTo>
                                    <a:lnTo>
                                      <a:pt x="198" y="118"/>
                                    </a:lnTo>
                                    <a:lnTo>
                                      <a:pt x="198" y="120"/>
                                    </a:lnTo>
                                    <a:lnTo>
                                      <a:pt x="198" y="122"/>
                                    </a:lnTo>
                                    <a:lnTo>
                                      <a:pt x="198" y="123"/>
                                    </a:lnTo>
                                    <a:lnTo>
                                      <a:pt x="198" y="125"/>
                                    </a:lnTo>
                                    <a:lnTo>
                                      <a:pt x="198" y="126"/>
                                    </a:lnTo>
                                    <a:lnTo>
                                      <a:pt x="198" y="127"/>
                                    </a:lnTo>
                                    <a:lnTo>
                                      <a:pt x="198" y="129"/>
                                    </a:lnTo>
                                    <a:lnTo>
                                      <a:pt x="197" y="130"/>
                                    </a:lnTo>
                                    <a:lnTo>
                                      <a:pt x="197" y="131"/>
                                    </a:lnTo>
                                    <a:lnTo>
                                      <a:pt x="196" y="132"/>
                                    </a:lnTo>
                                    <a:lnTo>
                                      <a:pt x="196" y="133"/>
                                    </a:lnTo>
                                    <a:lnTo>
                                      <a:pt x="195" y="134"/>
                                    </a:lnTo>
                                    <a:lnTo>
                                      <a:pt x="195" y="135"/>
                                    </a:lnTo>
                                    <a:lnTo>
                                      <a:pt x="194" y="136"/>
                                    </a:lnTo>
                                    <a:lnTo>
                                      <a:pt x="193" y="137"/>
                                    </a:lnTo>
                                    <a:lnTo>
                                      <a:pt x="193" y="137"/>
                                    </a:lnTo>
                                    <a:lnTo>
                                      <a:pt x="192" y="138"/>
                                    </a:lnTo>
                                    <a:lnTo>
                                      <a:pt x="192" y="139"/>
                                    </a:lnTo>
                                    <a:lnTo>
                                      <a:pt x="193" y="139"/>
                                    </a:lnTo>
                                    <a:lnTo>
                                      <a:pt x="193" y="140"/>
                                    </a:lnTo>
                                    <a:lnTo>
                                      <a:pt x="193" y="140"/>
                                    </a:lnTo>
                                    <a:lnTo>
                                      <a:pt x="193" y="141"/>
                                    </a:lnTo>
                                    <a:lnTo>
                                      <a:pt x="194" y="142"/>
                                    </a:lnTo>
                                    <a:lnTo>
                                      <a:pt x="194" y="142"/>
                                    </a:lnTo>
                                    <a:lnTo>
                                      <a:pt x="194" y="143"/>
                                    </a:lnTo>
                                    <a:lnTo>
                                      <a:pt x="195" y="143"/>
                                    </a:lnTo>
                                    <a:lnTo>
                                      <a:pt x="195" y="144"/>
                                    </a:lnTo>
                                    <a:lnTo>
                                      <a:pt x="195" y="144"/>
                                    </a:lnTo>
                                    <a:lnTo>
                                      <a:pt x="195" y="145"/>
                                    </a:lnTo>
                                    <a:lnTo>
                                      <a:pt x="192" y="146"/>
                                    </a:lnTo>
                                    <a:lnTo>
                                      <a:pt x="190" y="148"/>
                                    </a:lnTo>
                                    <a:lnTo>
                                      <a:pt x="188" y="149"/>
                                    </a:lnTo>
                                    <a:lnTo>
                                      <a:pt x="186" y="150"/>
                                    </a:lnTo>
                                    <a:lnTo>
                                      <a:pt x="182" y="153"/>
                                    </a:lnTo>
                                    <a:lnTo>
                                      <a:pt x="178" y="156"/>
                                    </a:lnTo>
                                    <a:lnTo>
                                      <a:pt x="173" y="158"/>
                                    </a:lnTo>
                                    <a:lnTo>
                                      <a:pt x="169" y="161"/>
                                    </a:lnTo>
                                    <a:lnTo>
                                      <a:pt x="167" y="162"/>
                                    </a:lnTo>
                                    <a:lnTo>
                                      <a:pt x="165" y="163"/>
                                    </a:lnTo>
                                    <a:lnTo>
                                      <a:pt x="163" y="165"/>
                                    </a:lnTo>
                                    <a:lnTo>
                                      <a:pt x="161" y="167"/>
                                    </a:lnTo>
                                    <a:lnTo>
                                      <a:pt x="161" y="167"/>
                                    </a:lnTo>
                                    <a:lnTo>
                                      <a:pt x="160" y="167"/>
                                    </a:lnTo>
                                    <a:lnTo>
                                      <a:pt x="160" y="167"/>
                                    </a:lnTo>
                                    <a:lnTo>
                                      <a:pt x="159" y="167"/>
                                    </a:lnTo>
                                    <a:lnTo>
                                      <a:pt x="159" y="157"/>
                                    </a:lnTo>
                                    <a:lnTo>
                                      <a:pt x="160" y="157"/>
                                    </a:lnTo>
                                    <a:lnTo>
                                      <a:pt x="160" y="156"/>
                                    </a:lnTo>
                                    <a:lnTo>
                                      <a:pt x="160" y="156"/>
                                    </a:lnTo>
                                    <a:lnTo>
                                      <a:pt x="160" y="156"/>
                                    </a:lnTo>
                                    <a:lnTo>
                                      <a:pt x="161" y="156"/>
                                    </a:lnTo>
                                    <a:lnTo>
                                      <a:pt x="161" y="155"/>
                                    </a:lnTo>
                                    <a:lnTo>
                                      <a:pt x="161" y="155"/>
                                    </a:lnTo>
                                    <a:lnTo>
                                      <a:pt x="161" y="154"/>
                                    </a:lnTo>
                                    <a:lnTo>
                                      <a:pt x="161" y="153"/>
                                    </a:lnTo>
                                    <a:lnTo>
                                      <a:pt x="161" y="152"/>
                                    </a:lnTo>
                                    <a:lnTo>
                                      <a:pt x="161" y="152"/>
                                    </a:lnTo>
                                    <a:lnTo>
                                      <a:pt x="161" y="151"/>
                                    </a:lnTo>
                                    <a:lnTo>
                                      <a:pt x="161" y="151"/>
                                    </a:lnTo>
                                    <a:lnTo>
                                      <a:pt x="161" y="150"/>
                                    </a:lnTo>
                                    <a:lnTo>
                                      <a:pt x="161" y="150"/>
                                    </a:lnTo>
                                    <a:lnTo>
                                      <a:pt x="160" y="150"/>
                                    </a:lnTo>
                                    <a:lnTo>
                                      <a:pt x="160" y="150"/>
                                    </a:lnTo>
                                    <a:lnTo>
                                      <a:pt x="160" y="150"/>
                                    </a:lnTo>
                                    <a:lnTo>
                                      <a:pt x="159" y="150"/>
                                    </a:lnTo>
                                    <a:lnTo>
                                      <a:pt x="159" y="150"/>
                                    </a:lnTo>
                                    <a:lnTo>
                                      <a:pt x="159" y="149"/>
                                    </a:lnTo>
                                    <a:lnTo>
                                      <a:pt x="159" y="149"/>
                                    </a:lnTo>
                                    <a:lnTo>
                                      <a:pt x="159" y="149"/>
                                    </a:lnTo>
                                    <a:lnTo>
                                      <a:pt x="159" y="149"/>
                                    </a:lnTo>
                                    <a:lnTo>
                                      <a:pt x="159" y="149"/>
                                    </a:lnTo>
                                    <a:lnTo>
                                      <a:pt x="159" y="149"/>
                                    </a:lnTo>
                                    <a:lnTo>
                                      <a:pt x="158" y="149"/>
                                    </a:lnTo>
                                    <a:lnTo>
                                      <a:pt x="158" y="149"/>
                                    </a:lnTo>
                                    <a:lnTo>
                                      <a:pt x="158" y="149"/>
                                    </a:lnTo>
                                    <a:lnTo>
                                      <a:pt x="158" y="150"/>
                                    </a:lnTo>
                                    <a:lnTo>
                                      <a:pt x="158" y="150"/>
                                    </a:lnTo>
                                    <a:lnTo>
                                      <a:pt x="158" y="150"/>
                                    </a:lnTo>
                                    <a:lnTo>
                                      <a:pt x="157" y="150"/>
                                    </a:lnTo>
                                    <a:lnTo>
                                      <a:pt x="157" y="151"/>
                                    </a:lnTo>
                                    <a:lnTo>
                                      <a:pt x="156" y="151"/>
                                    </a:lnTo>
                                    <a:lnTo>
                                      <a:pt x="155" y="151"/>
                                    </a:lnTo>
                                    <a:lnTo>
                                      <a:pt x="155" y="151"/>
                                    </a:lnTo>
                                    <a:lnTo>
                                      <a:pt x="154" y="152"/>
                                    </a:lnTo>
                                    <a:lnTo>
                                      <a:pt x="153" y="152"/>
                                    </a:lnTo>
                                    <a:lnTo>
                                      <a:pt x="153" y="152"/>
                                    </a:lnTo>
                                    <a:lnTo>
                                      <a:pt x="152" y="152"/>
                                    </a:lnTo>
                                    <a:lnTo>
                                      <a:pt x="152" y="151"/>
                                    </a:lnTo>
                                    <a:lnTo>
                                      <a:pt x="151" y="151"/>
                                    </a:lnTo>
                                    <a:lnTo>
                                      <a:pt x="151" y="151"/>
                                    </a:lnTo>
                                    <a:lnTo>
                                      <a:pt x="151" y="150"/>
                                    </a:lnTo>
                                    <a:lnTo>
                                      <a:pt x="151" y="150"/>
                                    </a:lnTo>
                                    <a:lnTo>
                                      <a:pt x="151" y="150"/>
                                    </a:lnTo>
                                    <a:lnTo>
                                      <a:pt x="151" y="149"/>
                                    </a:lnTo>
                                    <a:lnTo>
                                      <a:pt x="151" y="149"/>
                                    </a:lnTo>
                                    <a:lnTo>
                                      <a:pt x="151" y="148"/>
                                    </a:lnTo>
                                    <a:lnTo>
                                      <a:pt x="151" y="148"/>
                                    </a:lnTo>
                                    <a:lnTo>
                                      <a:pt x="151" y="147"/>
                                    </a:lnTo>
                                    <a:lnTo>
                                      <a:pt x="151" y="147"/>
                                    </a:lnTo>
                                    <a:lnTo>
                                      <a:pt x="151" y="147"/>
                                    </a:lnTo>
                                    <a:lnTo>
                                      <a:pt x="151" y="147"/>
                                    </a:lnTo>
                                    <a:lnTo>
                                      <a:pt x="150" y="147"/>
                                    </a:lnTo>
                                    <a:lnTo>
                                      <a:pt x="149" y="147"/>
                                    </a:lnTo>
                                    <a:lnTo>
                                      <a:pt x="149" y="145"/>
                                    </a:lnTo>
                                    <a:lnTo>
                                      <a:pt x="149" y="144"/>
                                    </a:lnTo>
                                    <a:lnTo>
                                      <a:pt x="149" y="143"/>
                                    </a:lnTo>
                                    <a:lnTo>
                                      <a:pt x="148" y="141"/>
                                    </a:lnTo>
                                    <a:lnTo>
                                      <a:pt x="147" y="140"/>
                                    </a:lnTo>
                                    <a:lnTo>
                                      <a:pt x="147" y="140"/>
                                    </a:lnTo>
                                    <a:lnTo>
                                      <a:pt x="146" y="139"/>
                                    </a:lnTo>
                                    <a:lnTo>
                                      <a:pt x="146" y="139"/>
                                    </a:lnTo>
                                    <a:lnTo>
                                      <a:pt x="145" y="138"/>
                                    </a:lnTo>
                                    <a:lnTo>
                                      <a:pt x="145" y="138"/>
                                    </a:lnTo>
                                    <a:lnTo>
                                      <a:pt x="145" y="138"/>
                                    </a:lnTo>
                                    <a:lnTo>
                                      <a:pt x="145" y="137"/>
                                    </a:lnTo>
                                    <a:lnTo>
                                      <a:pt x="144" y="137"/>
                                    </a:lnTo>
                                    <a:lnTo>
                                      <a:pt x="144" y="137"/>
                                    </a:lnTo>
                                    <a:lnTo>
                                      <a:pt x="144" y="137"/>
                                    </a:lnTo>
                                    <a:lnTo>
                                      <a:pt x="144" y="137"/>
                                    </a:lnTo>
                                    <a:lnTo>
                                      <a:pt x="143" y="137"/>
                                    </a:lnTo>
                                    <a:lnTo>
                                      <a:pt x="142" y="137"/>
                                    </a:lnTo>
                                    <a:lnTo>
                                      <a:pt x="142" y="137"/>
                                    </a:lnTo>
                                    <a:lnTo>
                                      <a:pt x="142" y="137"/>
                                    </a:lnTo>
                                    <a:lnTo>
                                      <a:pt x="141" y="137"/>
                                    </a:lnTo>
                                    <a:lnTo>
                                      <a:pt x="141" y="136"/>
                                    </a:lnTo>
                                    <a:lnTo>
                                      <a:pt x="141" y="135"/>
                                    </a:lnTo>
                                    <a:lnTo>
                                      <a:pt x="140" y="135"/>
                                    </a:lnTo>
                                    <a:lnTo>
                                      <a:pt x="140" y="135"/>
                                    </a:lnTo>
                                    <a:lnTo>
                                      <a:pt x="139" y="134"/>
                                    </a:lnTo>
                                    <a:lnTo>
                                      <a:pt x="139" y="134"/>
                                    </a:lnTo>
                                    <a:lnTo>
                                      <a:pt x="138" y="133"/>
                                    </a:lnTo>
                                    <a:lnTo>
                                      <a:pt x="138" y="133"/>
                                    </a:lnTo>
                                    <a:lnTo>
                                      <a:pt x="138" y="132"/>
                                    </a:lnTo>
                                    <a:lnTo>
                                      <a:pt x="137" y="132"/>
                                    </a:lnTo>
                                    <a:lnTo>
                                      <a:pt x="137" y="131"/>
                                    </a:lnTo>
                                    <a:lnTo>
                                      <a:pt x="136" y="131"/>
                                    </a:lnTo>
                                    <a:lnTo>
                                      <a:pt x="136" y="130"/>
                                    </a:lnTo>
                                    <a:lnTo>
                                      <a:pt x="135" y="130"/>
                                    </a:lnTo>
                                    <a:lnTo>
                                      <a:pt x="135" y="129"/>
                                    </a:lnTo>
                                    <a:lnTo>
                                      <a:pt x="135" y="129"/>
                                    </a:lnTo>
                                    <a:lnTo>
                                      <a:pt x="134" y="128"/>
                                    </a:lnTo>
                                    <a:lnTo>
                                      <a:pt x="134" y="128"/>
                                    </a:lnTo>
                                    <a:lnTo>
                                      <a:pt x="134" y="127"/>
                                    </a:lnTo>
                                    <a:lnTo>
                                      <a:pt x="134" y="127"/>
                                    </a:lnTo>
                                    <a:lnTo>
                                      <a:pt x="134" y="126"/>
                                    </a:lnTo>
                                    <a:lnTo>
                                      <a:pt x="133" y="126"/>
                                    </a:lnTo>
                                    <a:lnTo>
                                      <a:pt x="133" y="125"/>
                                    </a:lnTo>
                                    <a:lnTo>
                                      <a:pt x="133" y="125"/>
                                    </a:lnTo>
                                    <a:lnTo>
                                      <a:pt x="132" y="125"/>
                                    </a:lnTo>
                                    <a:lnTo>
                                      <a:pt x="132" y="125"/>
                                    </a:lnTo>
                                    <a:lnTo>
                                      <a:pt x="131" y="125"/>
                                    </a:lnTo>
                                    <a:lnTo>
                                      <a:pt x="131" y="125"/>
                                    </a:lnTo>
                                    <a:lnTo>
                                      <a:pt x="130" y="125"/>
                                    </a:lnTo>
                                    <a:lnTo>
                                      <a:pt x="130" y="126"/>
                                    </a:lnTo>
                                    <a:lnTo>
                                      <a:pt x="130" y="126"/>
                                    </a:lnTo>
                                    <a:lnTo>
                                      <a:pt x="130" y="126"/>
                                    </a:lnTo>
                                    <a:lnTo>
                                      <a:pt x="130" y="127"/>
                                    </a:lnTo>
                                    <a:lnTo>
                                      <a:pt x="129" y="127"/>
                                    </a:lnTo>
                                    <a:lnTo>
                                      <a:pt x="129" y="127"/>
                                    </a:lnTo>
                                    <a:lnTo>
                                      <a:pt x="128" y="127"/>
                                    </a:lnTo>
                                    <a:lnTo>
                                      <a:pt x="128" y="127"/>
                                    </a:lnTo>
                                    <a:lnTo>
                                      <a:pt x="127" y="128"/>
                                    </a:lnTo>
                                    <a:lnTo>
                                      <a:pt x="127" y="128"/>
                                    </a:lnTo>
                                    <a:lnTo>
                                      <a:pt x="126" y="128"/>
                                    </a:lnTo>
                                    <a:lnTo>
                                      <a:pt x="126" y="128"/>
                                    </a:lnTo>
                                    <a:lnTo>
                                      <a:pt x="125" y="128"/>
                                    </a:lnTo>
                                    <a:lnTo>
                                      <a:pt x="125" y="128"/>
                                    </a:lnTo>
                                    <a:lnTo>
                                      <a:pt x="125" y="128"/>
                                    </a:lnTo>
                                    <a:lnTo>
                                      <a:pt x="125" y="129"/>
                                    </a:lnTo>
                                    <a:lnTo>
                                      <a:pt x="125" y="129"/>
                                    </a:lnTo>
                                    <a:lnTo>
                                      <a:pt x="124" y="129"/>
                                    </a:lnTo>
                                    <a:lnTo>
                                      <a:pt x="124" y="130"/>
                                    </a:lnTo>
                                    <a:lnTo>
                                      <a:pt x="124" y="130"/>
                                    </a:lnTo>
                                    <a:lnTo>
                                      <a:pt x="123" y="131"/>
                                    </a:lnTo>
                                    <a:lnTo>
                                      <a:pt x="122" y="131"/>
                                    </a:lnTo>
                                    <a:lnTo>
                                      <a:pt x="121" y="131"/>
                                    </a:lnTo>
                                    <a:lnTo>
                                      <a:pt x="120" y="132"/>
                                    </a:lnTo>
                                    <a:lnTo>
                                      <a:pt x="119" y="132"/>
                                    </a:lnTo>
                                    <a:lnTo>
                                      <a:pt x="118" y="132"/>
                                    </a:lnTo>
                                    <a:lnTo>
                                      <a:pt x="116" y="132"/>
                                    </a:lnTo>
                                    <a:lnTo>
                                      <a:pt x="116" y="131"/>
                                    </a:lnTo>
                                    <a:lnTo>
                                      <a:pt x="116" y="131"/>
                                    </a:lnTo>
                                    <a:lnTo>
                                      <a:pt x="116" y="131"/>
                                    </a:lnTo>
                                    <a:lnTo>
                                      <a:pt x="115" y="131"/>
                                    </a:lnTo>
                                    <a:lnTo>
                                      <a:pt x="115" y="130"/>
                                    </a:lnTo>
                                    <a:lnTo>
                                      <a:pt x="114" y="130"/>
                                    </a:lnTo>
                                    <a:lnTo>
                                      <a:pt x="114" y="130"/>
                                    </a:lnTo>
                                    <a:lnTo>
                                      <a:pt x="113" y="130"/>
                                    </a:lnTo>
                                    <a:lnTo>
                                      <a:pt x="113" y="130"/>
                                    </a:lnTo>
                                    <a:lnTo>
                                      <a:pt x="110" y="130"/>
                                    </a:lnTo>
                                    <a:lnTo>
                                      <a:pt x="106" y="130"/>
                                    </a:lnTo>
                                    <a:lnTo>
                                      <a:pt x="103" y="130"/>
                                    </a:lnTo>
                                    <a:lnTo>
                                      <a:pt x="100" y="130"/>
                                    </a:lnTo>
                                    <a:lnTo>
                                      <a:pt x="100" y="129"/>
                                    </a:lnTo>
                                    <a:lnTo>
                                      <a:pt x="100" y="129"/>
                                    </a:lnTo>
                                    <a:lnTo>
                                      <a:pt x="99" y="129"/>
                                    </a:lnTo>
                                    <a:lnTo>
                                      <a:pt x="99" y="128"/>
                                    </a:lnTo>
                                    <a:lnTo>
                                      <a:pt x="99" y="128"/>
                                    </a:lnTo>
                                    <a:lnTo>
                                      <a:pt x="99" y="128"/>
                                    </a:lnTo>
                                    <a:lnTo>
                                      <a:pt x="98" y="128"/>
                                    </a:lnTo>
                                    <a:lnTo>
                                      <a:pt x="97" y="128"/>
                                    </a:lnTo>
                                    <a:lnTo>
                                      <a:pt x="97" y="128"/>
                                    </a:lnTo>
                                    <a:lnTo>
                                      <a:pt x="96" y="128"/>
                                    </a:lnTo>
                                    <a:lnTo>
                                      <a:pt x="96" y="128"/>
                                    </a:lnTo>
                                    <a:lnTo>
                                      <a:pt x="95" y="128"/>
                                    </a:lnTo>
                                    <a:lnTo>
                                      <a:pt x="94" y="127"/>
                                    </a:lnTo>
                                    <a:lnTo>
                                      <a:pt x="94" y="127"/>
                                    </a:lnTo>
                                    <a:lnTo>
                                      <a:pt x="93" y="127"/>
                                    </a:lnTo>
                                    <a:lnTo>
                                      <a:pt x="93" y="127"/>
                                    </a:lnTo>
                                    <a:lnTo>
                                      <a:pt x="92" y="127"/>
                                    </a:lnTo>
                                    <a:lnTo>
                                      <a:pt x="92" y="127"/>
                                    </a:lnTo>
                                    <a:lnTo>
                                      <a:pt x="91" y="127"/>
                                    </a:lnTo>
                                    <a:lnTo>
                                      <a:pt x="90" y="127"/>
                                    </a:lnTo>
                                    <a:lnTo>
                                      <a:pt x="90" y="127"/>
                                    </a:lnTo>
                                    <a:lnTo>
                                      <a:pt x="89" y="127"/>
                                    </a:lnTo>
                                    <a:lnTo>
                                      <a:pt x="89" y="127"/>
                                    </a:lnTo>
                                    <a:lnTo>
                                      <a:pt x="89" y="127"/>
                                    </a:lnTo>
                                    <a:lnTo>
                                      <a:pt x="88" y="127"/>
                                    </a:lnTo>
                                    <a:lnTo>
                                      <a:pt x="88" y="128"/>
                                    </a:lnTo>
                                    <a:lnTo>
                                      <a:pt x="88" y="128"/>
                                    </a:lnTo>
                                    <a:lnTo>
                                      <a:pt x="86" y="128"/>
                                    </a:lnTo>
                                    <a:lnTo>
                                      <a:pt x="84" y="128"/>
                                    </a:lnTo>
                                    <a:lnTo>
                                      <a:pt x="82" y="128"/>
                                    </a:lnTo>
                                    <a:lnTo>
                                      <a:pt x="80" y="128"/>
                                    </a:lnTo>
                                    <a:lnTo>
                                      <a:pt x="79" y="128"/>
                                    </a:lnTo>
                                    <a:lnTo>
                                      <a:pt x="79" y="128"/>
                                    </a:lnTo>
                                    <a:lnTo>
                                      <a:pt x="78" y="128"/>
                                    </a:lnTo>
                                    <a:lnTo>
                                      <a:pt x="78" y="128"/>
                                    </a:lnTo>
                                    <a:lnTo>
                                      <a:pt x="78" y="129"/>
                                    </a:lnTo>
                                    <a:lnTo>
                                      <a:pt x="78" y="129"/>
                                    </a:lnTo>
                                    <a:lnTo>
                                      <a:pt x="78" y="129"/>
                                    </a:lnTo>
                                    <a:lnTo>
                                      <a:pt x="78" y="130"/>
                                    </a:lnTo>
                                    <a:lnTo>
                                      <a:pt x="68" y="130"/>
                                    </a:lnTo>
                                    <a:lnTo>
                                      <a:pt x="67" y="130"/>
                                    </a:lnTo>
                                    <a:lnTo>
                                      <a:pt x="67" y="130"/>
                                    </a:lnTo>
                                    <a:lnTo>
                                      <a:pt x="66" y="129"/>
                                    </a:lnTo>
                                    <a:lnTo>
                                      <a:pt x="66" y="129"/>
                                    </a:lnTo>
                                    <a:lnTo>
                                      <a:pt x="65" y="129"/>
                                    </a:lnTo>
                                    <a:lnTo>
                                      <a:pt x="65" y="128"/>
                                    </a:lnTo>
                                    <a:lnTo>
                                      <a:pt x="65" y="128"/>
                                    </a:lnTo>
                                    <a:lnTo>
                                      <a:pt x="65" y="128"/>
                                    </a:lnTo>
                                    <a:lnTo>
                                      <a:pt x="64" y="127"/>
                                    </a:lnTo>
                                    <a:lnTo>
                                      <a:pt x="64" y="127"/>
                                    </a:lnTo>
                                    <a:lnTo>
                                      <a:pt x="63" y="126"/>
                                    </a:lnTo>
                                    <a:lnTo>
                                      <a:pt x="63" y="126"/>
                                    </a:lnTo>
                                    <a:lnTo>
                                      <a:pt x="62" y="125"/>
                                    </a:lnTo>
                                    <a:lnTo>
                                      <a:pt x="62" y="125"/>
                                    </a:lnTo>
                                    <a:lnTo>
                                      <a:pt x="62" y="124"/>
                                    </a:lnTo>
                                    <a:lnTo>
                                      <a:pt x="61" y="124"/>
                                    </a:lnTo>
                                    <a:lnTo>
                                      <a:pt x="61" y="123"/>
                                    </a:lnTo>
                                    <a:lnTo>
                                      <a:pt x="61" y="123"/>
                                    </a:lnTo>
                                    <a:lnTo>
                                      <a:pt x="61" y="122"/>
                                    </a:lnTo>
                                    <a:lnTo>
                                      <a:pt x="61" y="122"/>
                                    </a:lnTo>
                                    <a:lnTo>
                                      <a:pt x="61" y="122"/>
                                    </a:lnTo>
                                    <a:lnTo>
                                      <a:pt x="61" y="122"/>
                                    </a:lnTo>
                                    <a:lnTo>
                                      <a:pt x="60" y="122"/>
                                    </a:lnTo>
                                    <a:lnTo>
                                      <a:pt x="60" y="122"/>
                                    </a:lnTo>
                                    <a:lnTo>
                                      <a:pt x="59" y="121"/>
                                    </a:lnTo>
                                    <a:lnTo>
                                      <a:pt x="59" y="121"/>
                                    </a:lnTo>
                                    <a:lnTo>
                                      <a:pt x="59" y="120"/>
                                    </a:lnTo>
                                    <a:lnTo>
                                      <a:pt x="58" y="120"/>
                                    </a:lnTo>
                                    <a:lnTo>
                                      <a:pt x="58" y="119"/>
                                    </a:lnTo>
                                    <a:lnTo>
                                      <a:pt x="57" y="118"/>
                                    </a:lnTo>
                                    <a:lnTo>
                                      <a:pt x="57" y="118"/>
                                    </a:lnTo>
                                    <a:lnTo>
                                      <a:pt x="56" y="117"/>
                                    </a:lnTo>
                                    <a:lnTo>
                                      <a:pt x="56" y="117"/>
                                    </a:lnTo>
                                    <a:lnTo>
                                      <a:pt x="56" y="117"/>
                                    </a:lnTo>
                                    <a:lnTo>
                                      <a:pt x="56" y="116"/>
                                    </a:lnTo>
                                    <a:lnTo>
                                      <a:pt x="56" y="116"/>
                                    </a:lnTo>
                                    <a:lnTo>
                                      <a:pt x="56" y="115"/>
                                    </a:lnTo>
                                    <a:lnTo>
                                      <a:pt x="56" y="115"/>
                                    </a:lnTo>
                                    <a:lnTo>
                                      <a:pt x="56" y="115"/>
                                    </a:lnTo>
                                    <a:lnTo>
                                      <a:pt x="55" y="115"/>
                                    </a:lnTo>
                                    <a:lnTo>
                                      <a:pt x="55" y="115"/>
                                    </a:lnTo>
                                    <a:lnTo>
                                      <a:pt x="54" y="114"/>
                                    </a:lnTo>
                                    <a:lnTo>
                                      <a:pt x="54" y="114"/>
                                    </a:lnTo>
                                    <a:lnTo>
                                      <a:pt x="53" y="112"/>
                                    </a:lnTo>
                                    <a:lnTo>
                                      <a:pt x="52" y="111"/>
                                    </a:lnTo>
                                    <a:lnTo>
                                      <a:pt x="51" y="110"/>
                                    </a:lnTo>
                                    <a:lnTo>
                                      <a:pt x="51" y="110"/>
                                    </a:lnTo>
                                    <a:lnTo>
                                      <a:pt x="50" y="109"/>
                                    </a:lnTo>
                                    <a:lnTo>
                                      <a:pt x="50" y="108"/>
                                    </a:lnTo>
                                    <a:lnTo>
                                      <a:pt x="50" y="107"/>
                                    </a:lnTo>
                                    <a:lnTo>
                                      <a:pt x="50" y="106"/>
                                    </a:lnTo>
                                    <a:lnTo>
                                      <a:pt x="50" y="105"/>
                                    </a:lnTo>
                                    <a:lnTo>
                                      <a:pt x="50" y="104"/>
                                    </a:lnTo>
                                    <a:lnTo>
                                      <a:pt x="50" y="103"/>
                                    </a:lnTo>
                                    <a:lnTo>
                                      <a:pt x="50" y="103"/>
                                    </a:lnTo>
                                    <a:lnTo>
                                      <a:pt x="50" y="102"/>
                                    </a:lnTo>
                                    <a:lnTo>
                                      <a:pt x="50" y="102"/>
                                    </a:lnTo>
                                    <a:lnTo>
                                      <a:pt x="49" y="102"/>
                                    </a:lnTo>
                                    <a:lnTo>
                                      <a:pt x="49" y="102"/>
                                    </a:lnTo>
                                    <a:lnTo>
                                      <a:pt x="49" y="102"/>
                                    </a:lnTo>
                                    <a:lnTo>
                                      <a:pt x="48" y="102"/>
                                    </a:lnTo>
                                    <a:lnTo>
                                      <a:pt x="48" y="101"/>
                                    </a:lnTo>
                                    <a:lnTo>
                                      <a:pt x="47" y="100"/>
                                    </a:lnTo>
                                    <a:lnTo>
                                      <a:pt x="47" y="100"/>
                                    </a:lnTo>
                                    <a:lnTo>
                                      <a:pt x="47" y="100"/>
                                    </a:lnTo>
                                    <a:lnTo>
                                      <a:pt x="46" y="99"/>
                                    </a:lnTo>
                                    <a:lnTo>
                                      <a:pt x="46" y="99"/>
                                    </a:lnTo>
                                    <a:lnTo>
                                      <a:pt x="45" y="98"/>
                                    </a:lnTo>
                                    <a:lnTo>
                                      <a:pt x="45" y="98"/>
                                    </a:lnTo>
                                    <a:lnTo>
                                      <a:pt x="45" y="97"/>
                                    </a:lnTo>
                                    <a:lnTo>
                                      <a:pt x="44" y="97"/>
                                    </a:lnTo>
                                    <a:lnTo>
                                      <a:pt x="44" y="97"/>
                                    </a:lnTo>
                                    <a:lnTo>
                                      <a:pt x="44" y="97"/>
                                    </a:lnTo>
                                    <a:lnTo>
                                      <a:pt x="44" y="97"/>
                                    </a:lnTo>
                                    <a:lnTo>
                                      <a:pt x="43" y="97"/>
                                    </a:lnTo>
                                    <a:lnTo>
                                      <a:pt x="42" y="97"/>
                                    </a:lnTo>
                                    <a:lnTo>
                                      <a:pt x="42" y="96"/>
                                    </a:lnTo>
                                    <a:lnTo>
                                      <a:pt x="41" y="96"/>
                                    </a:lnTo>
                                    <a:lnTo>
                                      <a:pt x="41" y="96"/>
                                    </a:lnTo>
                                    <a:lnTo>
                                      <a:pt x="41" y="96"/>
                                    </a:lnTo>
                                    <a:lnTo>
                                      <a:pt x="40" y="95"/>
                                    </a:lnTo>
                                    <a:lnTo>
                                      <a:pt x="40" y="94"/>
                                    </a:lnTo>
                                    <a:lnTo>
                                      <a:pt x="39" y="93"/>
                                    </a:lnTo>
                                    <a:lnTo>
                                      <a:pt x="39" y="93"/>
                                    </a:lnTo>
                                    <a:lnTo>
                                      <a:pt x="38" y="93"/>
                                    </a:lnTo>
                                    <a:lnTo>
                                      <a:pt x="38" y="92"/>
                                    </a:lnTo>
                                    <a:lnTo>
                                      <a:pt x="37" y="92"/>
                                    </a:lnTo>
                                    <a:lnTo>
                                      <a:pt x="37" y="92"/>
                                    </a:lnTo>
                                    <a:lnTo>
                                      <a:pt x="36" y="92"/>
                                    </a:lnTo>
                                    <a:lnTo>
                                      <a:pt x="36" y="91"/>
                                    </a:lnTo>
                                    <a:lnTo>
                                      <a:pt x="36" y="91"/>
                                    </a:lnTo>
                                    <a:lnTo>
                                      <a:pt x="36" y="90"/>
                                    </a:lnTo>
                                    <a:lnTo>
                                      <a:pt x="36" y="90"/>
                                    </a:lnTo>
                                    <a:lnTo>
                                      <a:pt x="36" y="90"/>
                                    </a:lnTo>
                                    <a:lnTo>
                                      <a:pt x="35" y="90"/>
                                    </a:lnTo>
                                    <a:lnTo>
                                      <a:pt x="35" y="90"/>
                                    </a:lnTo>
                                    <a:lnTo>
                                      <a:pt x="34" y="90"/>
                                    </a:lnTo>
                                    <a:lnTo>
                                      <a:pt x="33" y="89"/>
                                    </a:lnTo>
                                    <a:lnTo>
                                      <a:pt x="33" y="89"/>
                                    </a:lnTo>
                                    <a:lnTo>
                                      <a:pt x="32" y="89"/>
                                    </a:lnTo>
                                    <a:lnTo>
                                      <a:pt x="31" y="88"/>
                                    </a:lnTo>
                                    <a:lnTo>
                                      <a:pt x="30" y="87"/>
                                    </a:lnTo>
                                    <a:lnTo>
                                      <a:pt x="30" y="86"/>
                                    </a:lnTo>
                                    <a:lnTo>
                                      <a:pt x="29" y="85"/>
                                    </a:lnTo>
                                    <a:lnTo>
                                      <a:pt x="28" y="84"/>
                                    </a:lnTo>
                                    <a:lnTo>
                                      <a:pt x="28" y="84"/>
                                    </a:lnTo>
                                    <a:lnTo>
                                      <a:pt x="27" y="84"/>
                                    </a:lnTo>
                                    <a:lnTo>
                                      <a:pt x="26" y="83"/>
                                    </a:lnTo>
                                    <a:lnTo>
                                      <a:pt x="26" y="83"/>
                                    </a:lnTo>
                                    <a:lnTo>
                                      <a:pt x="26" y="82"/>
                                    </a:lnTo>
                                    <a:lnTo>
                                      <a:pt x="26" y="82"/>
                                    </a:lnTo>
                                    <a:lnTo>
                                      <a:pt x="26" y="82"/>
                                    </a:lnTo>
                                    <a:lnTo>
                                      <a:pt x="26" y="82"/>
                                    </a:lnTo>
                                    <a:lnTo>
                                      <a:pt x="25" y="82"/>
                                    </a:lnTo>
                                    <a:lnTo>
                                      <a:pt x="25" y="82"/>
                                    </a:lnTo>
                                    <a:lnTo>
                                      <a:pt x="24" y="82"/>
                                    </a:lnTo>
                                    <a:lnTo>
                                      <a:pt x="23" y="81"/>
                                    </a:lnTo>
                                    <a:lnTo>
                                      <a:pt x="23" y="81"/>
                                    </a:lnTo>
                                    <a:lnTo>
                                      <a:pt x="23" y="81"/>
                                    </a:lnTo>
                                    <a:lnTo>
                                      <a:pt x="22" y="80"/>
                                    </a:lnTo>
                                    <a:lnTo>
                                      <a:pt x="22" y="80"/>
                                    </a:lnTo>
                                    <a:lnTo>
                                      <a:pt x="21" y="79"/>
                                    </a:lnTo>
                                    <a:lnTo>
                                      <a:pt x="21" y="78"/>
                                    </a:lnTo>
                                    <a:lnTo>
                                      <a:pt x="20" y="78"/>
                                    </a:lnTo>
                                    <a:lnTo>
                                      <a:pt x="20" y="78"/>
                                    </a:lnTo>
                                    <a:lnTo>
                                      <a:pt x="20" y="77"/>
                                    </a:lnTo>
                                    <a:lnTo>
                                      <a:pt x="19" y="77"/>
                                    </a:lnTo>
                                    <a:lnTo>
                                      <a:pt x="19" y="77"/>
                                    </a:lnTo>
                                    <a:lnTo>
                                      <a:pt x="18" y="77"/>
                                    </a:lnTo>
                                    <a:lnTo>
                                      <a:pt x="18" y="76"/>
                                    </a:lnTo>
                                    <a:lnTo>
                                      <a:pt x="18" y="76"/>
                                    </a:lnTo>
                                    <a:lnTo>
                                      <a:pt x="18" y="76"/>
                                    </a:lnTo>
                                    <a:lnTo>
                                      <a:pt x="18" y="75"/>
                                    </a:lnTo>
                                    <a:lnTo>
                                      <a:pt x="17" y="75"/>
                                    </a:lnTo>
                                    <a:lnTo>
                                      <a:pt x="17" y="75"/>
                                    </a:lnTo>
                                    <a:lnTo>
                                      <a:pt x="17" y="75"/>
                                    </a:lnTo>
                                    <a:lnTo>
                                      <a:pt x="16" y="75"/>
                                    </a:lnTo>
                                    <a:lnTo>
                                      <a:pt x="16" y="75"/>
                                    </a:lnTo>
                                    <a:lnTo>
                                      <a:pt x="15" y="75"/>
                                    </a:lnTo>
                                    <a:lnTo>
                                      <a:pt x="14" y="74"/>
                                    </a:lnTo>
                                    <a:lnTo>
                                      <a:pt x="14" y="74"/>
                                    </a:lnTo>
                                    <a:lnTo>
                                      <a:pt x="13" y="73"/>
                                    </a:lnTo>
                                    <a:lnTo>
                                      <a:pt x="12" y="72"/>
                                    </a:lnTo>
                                    <a:lnTo>
                                      <a:pt x="11" y="71"/>
                                    </a:lnTo>
                                    <a:lnTo>
                                      <a:pt x="10" y="70"/>
                                    </a:lnTo>
                                    <a:lnTo>
                                      <a:pt x="10" y="69"/>
                                    </a:lnTo>
                                    <a:lnTo>
                                      <a:pt x="9" y="69"/>
                                    </a:lnTo>
                                    <a:lnTo>
                                      <a:pt x="9" y="69"/>
                                    </a:lnTo>
                                    <a:lnTo>
                                      <a:pt x="8" y="68"/>
                                    </a:lnTo>
                                    <a:lnTo>
                                      <a:pt x="8" y="68"/>
                                    </a:lnTo>
                                    <a:lnTo>
                                      <a:pt x="8" y="68"/>
                                    </a:lnTo>
                                    <a:lnTo>
                                      <a:pt x="8" y="67"/>
                                    </a:lnTo>
                                    <a:lnTo>
                                      <a:pt x="8" y="67"/>
                                    </a:lnTo>
                                    <a:lnTo>
                                      <a:pt x="7" y="67"/>
                                    </a:lnTo>
                                    <a:lnTo>
                                      <a:pt x="7" y="67"/>
                                    </a:lnTo>
                                    <a:lnTo>
                                      <a:pt x="7" y="67"/>
                                    </a:lnTo>
                                    <a:lnTo>
                                      <a:pt x="6" y="67"/>
                                    </a:lnTo>
                                    <a:lnTo>
                                      <a:pt x="6" y="67"/>
                                    </a:lnTo>
                                    <a:lnTo>
                                      <a:pt x="5" y="66"/>
                                    </a:lnTo>
                                    <a:lnTo>
                                      <a:pt x="5" y="66"/>
                                    </a:lnTo>
                                    <a:lnTo>
                                      <a:pt x="4" y="66"/>
                                    </a:lnTo>
                                    <a:lnTo>
                                      <a:pt x="4" y="66"/>
                                    </a:lnTo>
                                    <a:lnTo>
                                      <a:pt x="4" y="65"/>
                                    </a:lnTo>
                                    <a:lnTo>
                                      <a:pt x="3" y="64"/>
                                    </a:lnTo>
                                    <a:lnTo>
                                      <a:pt x="2" y="63"/>
                                    </a:lnTo>
                                    <a:lnTo>
                                      <a:pt x="2" y="63"/>
                                    </a:lnTo>
                                    <a:lnTo>
                                      <a:pt x="2" y="63"/>
                                    </a:lnTo>
                                    <a:lnTo>
                                      <a:pt x="1" y="62"/>
                                    </a:lnTo>
                                    <a:lnTo>
                                      <a:pt x="1" y="62"/>
                                    </a:lnTo>
                                    <a:lnTo>
                                      <a:pt x="0" y="62"/>
                                    </a:lnTo>
                                    <a:lnTo>
                                      <a:pt x="0" y="62"/>
                                    </a:lnTo>
                                    <a:lnTo>
                                      <a:pt x="0" y="61"/>
                                    </a:lnTo>
                                    <a:lnTo>
                                      <a:pt x="0" y="61"/>
                                    </a:lnTo>
                                    <a:lnTo>
                                      <a:pt x="0" y="61"/>
                                    </a:lnTo>
                                    <a:lnTo>
                                      <a:pt x="0" y="60"/>
                                    </a:lnTo>
                                    <a:lnTo>
                                      <a:pt x="0" y="59"/>
                                    </a:lnTo>
                                    <a:lnTo>
                                      <a:pt x="1" y="58"/>
                                    </a:lnTo>
                                    <a:lnTo>
                                      <a:pt x="1" y="56"/>
                                    </a:lnTo>
                                    <a:lnTo>
                                      <a:pt x="2" y="55"/>
                                    </a:lnTo>
                                    <a:lnTo>
                                      <a:pt x="2" y="54"/>
                                    </a:lnTo>
                                    <a:lnTo>
                                      <a:pt x="3" y="53"/>
                                    </a:lnTo>
                                    <a:lnTo>
                                      <a:pt x="4" y="52"/>
                                    </a:lnTo>
                                    <a:lnTo>
                                      <a:pt x="5" y="51"/>
                                    </a:lnTo>
                                    <a:lnTo>
                                      <a:pt x="6" y="51"/>
                                    </a:lnTo>
                                    <a:lnTo>
                                      <a:pt x="7" y="50"/>
                                    </a:lnTo>
                                    <a:lnTo>
                                      <a:pt x="8" y="49"/>
                                    </a:lnTo>
                                    <a:lnTo>
                                      <a:pt x="9" y="49"/>
                                    </a:lnTo>
                                    <a:lnTo>
                                      <a:pt x="10" y="48"/>
                                    </a:lnTo>
                                    <a:lnTo>
                                      <a:pt x="12" y="47"/>
                                    </a:lnTo>
                                    <a:lnTo>
                                      <a:pt x="13" y="47"/>
                                    </a:lnTo>
                                    <a:lnTo>
                                      <a:pt x="15" y="47"/>
                                    </a:lnTo>
                                    <a:lnTo>
                                      <a:pt x="15" y="46"/>
                                    </a:lnTo>
                                    <a:lnTo>
                                      <a:pt x="16" y="44"/>
                                    </a:lnTo>
                                    <a:lnTo>
                                      <a:pt x="16" y="43"/>
                                    </a:lnTo>
                                    <a:lnTo>
                                      <a:pt x="17" y="42"/>
                                    </a:lnTo>
                                    <a:lnTo>
                                      <a:pt x="18" y="41"/>
                                    </a:lnTo>
                                    <a:lnTo>
                                      <a:pt x="19" y="41"/>
                                    </a:lnTo>
                                    <a:lnTo>
                                      <a:pt x="20" y="39"/>
                                    </a:lnTo>
                                    <a:lnTo>
                                      <a:pt x="22" y="37"/>
                                    </a:lnTo>
                                    <a:lnTo>
                                      <a:pt x="24" y="35"/>
                                    </a:lnTo>
                                    <a:lnTo>
                                      <a:pt x="26" y="34"/>
                                    </a:lnTo>
                                    <a:lnTo>
                                      <a:pt x="28" y="32"/>
                                    </a:lnTo>
                                    <a:lnTo>
                                      <a:pt x="30" y="31"/>
                                    </a:lnTo>
                                    <a:lnTo>
                                      <a:pt x="32" y="29"/>
                                    </a:lnTo>
                                    <a:lnTo>
                                      <a:pt x="33" y="28"/>
                                    </a:lnTo>
                                    <a:lnTo>
                                      <a:pt x="35" y="26"/>
                                    </a:lnTo>
                                    <a:lnTo>
                                      <a:pt x="37" y="25"/>
                                    </a:lnTo>
                                    <a:lnTo>
                                      <a:pt x="39" y="23"/>
                                    </a:lnTo>
                                    <a:lnTo>
                                      <a:pt x="39" y="22"/>
                                    </a:lnTo>
                                    <a:lnTo>
                                      <a:pt x="40" y="21"/>
                                    </a:lnTo>
                                    <a:lnTo>
                                      <a:pt x="41" y="20"/>
                                    </a:lnTo>
                                    <a:lnTo>
                                      <a:pt x="41" y="19"/>
                                    </a:lnTo>
                                    <a:lnTo>
                                      <a:pt x="42" y="18"/>
                                    </a:lnTo>
                                    <a:lnTo>
                                      <a:pt x="43" y="18"/>
                                    </a:lnTo>
                                    <a:lnTo>
                                      <a:pt x="44" y="18"/>
                                    </a:lnTo>
                                    <a:lnTo>
                                      <a:pt x="44" y="18"/>
                                    </a:lnTo>
                                    <a:lnTo>
                                      <a:pt x="45" y="19"/>
                                    </a:lnTo>
                                    <a:lnTo>
                                      <a:pt x="45" y="19"/>
                                    </a:lnTo>
                                    <a:lnTo>
                                      <a:pt x="46" y="19"/>
                                    </a:lnTo>
                                    <a:lnTo>
                                      <a:pt x="47" y="20"/>
                                    </a:lnTo>
                                    <a:lnTo>
                                      <a:pt x="48" y="20"/>
                                    </a:lnTo>
                                    <a:lnTo>
                                      <a:pt x="48" y="20"/>
                                    </a:lnTo>
                                    <a:lnTo>
                                      <a:pt x="49" y="20"/>
                                    </a:lnTo>
                                    <a:lnTo>
                                      <a:pt x="50" y="20"/>
                                    </a:lnTo>
                                    <a:lnTo>
                                      <a:pt x="50" y="20"/>
                                    </a:lnTo>
                                    <a:lnTo>
                                      <a:pt x="51" y="20"/>
                                    </a:lnTo>
                                    <a:lnTo>
                                      <a:pt x="52" y="19"/>
                                    </a:lnTo>
                                    <a:lnTo>
                                      <a:pt x="53" y="18"/>
                                    </a:lnTo>
                                    <a:lnTo>
                                      <a:pt x="54" y="17"/>
                                    </a:lnTo>
                                    <a:lnTo>
                                      <a:pt x="55" y="15"/>
                                    </a:lnTo>
                                    <a:lnTo>
                                      <a:pt x="55" y="14"/>
                                    </a:lnTo>
                                    <a:lnTo>
                                      <a:pt x="56" y="12"/>
                                    </a:lnTo>
                                    <a:lnTo>
                                      <a:pt x="57" y="9"/>
                                    </a:lnTo>
                                    <a:lnTo>
                                      <a:pt x="58" y="8"/>
                                    </a:lnTo>
                                    <a:lnTo>
                                      <a:pt x="58" y="7"/>
                                    </a:lnTo>
                                    <a:lnTo>
                                      <a:pt x="59" y="5"/>
                                    </a:lnTo>
                                    <a:lnTo>
                                      <a:pt x="60" y="4"/>
                                    </a:lnTo>
                                    <a:lnTo>
                                      <a:pt x="61" y="3"/>
                                    </a:lnTo>
                                    <a:lnTo>
                                      <a:pt x="62" y="2"/>
                                    </a:lnTo>
                                    <a:lnTo>
                                      <a:pt x="63" y="1"/>
                                    </a:lnTo>
                                    <a:lnTo>
                                      <a:pt x="64" y="1"/>
                                    </a:lnTo>
                                    <a:lnTo>
                                      <a:pt x="65" y="0"/>
                                    </a:lnTo>
                                    <a:lnTo>
                                      <a:pt x="66" y="1"/>
                                    </a:lnTo>
                                    <a:lnTo>
                                      <a:pt x="68" y="1"/>
                                    </a:lnTo>
                                    <a:lnTo>
                                      <a:pt x="69" y="1"/>
                                    </a:lnTo>
                                    <a:lnTo>
                                      <a:pt x="70" y="1"/>
                                    </a:lnTo>
                                    <a:lnTo>
                                      <a:pt x="71" y="2"/>
                                    </a:lnTo>
                                    <a:lnTo>
                                      <a:pt x="73" y="3"/>
                                    </a:lnTo>
                                    <a:lnTo>
                                      <a:pt x="74" y="3"/>
                                    </a:lnTo>
                                    <a:lnTo>
                                      <a:pt x="75" y="4"/>
                                    </a:lnTo>
                                    <a:lnTo>
                                      <a:pt x="76" y="5"/>
                                    </a:lnTo>
                                    <a:lnTo>
                                      <a:pt x="76" y="5"/>
                                    </a:lnTo>
                                    <a:lnTo>
                                      <a:pt x="77" y="6"/>
                                    </a:lnTo>
                                    <a:lnTo>
                                      <a:pt x="78" y="7"/>
                                    </a:lnTo>
                                    <a:lnTo>
                                      <a:pt x="80" y="9"/>
                                    </a:lnTo>
                                    <a:lnTo>
                                      <a:pt x="81" y="11"/>
                                    </a:lnTo>
                                    <a:lnTo>
                                      <a:pt x="82" y="13"/>
                                    </a:lnTo>
                                    <a:lnTo>
                                      <a:pt x="84" y="15"/>
                                    </a:lnTo>
                                    <a:lnTo>
                                      <a:pt x="85" y="17"/>
                                    </a:lnTo>
                                    <a:lnTo>
                                      <a:pt x="87" y="19"/>
                                    </a:lnTo>
                                    <a:lnTo>
                                      <a:pt x="87" y="20"/>
                                    </a:lnTo>
                                    <a:lnTo>
                                      <a:pt x="88" y="21"/>
                                    </a:lnTo>
                                    <a:lnTo>
                                      <a:pt x="89" y="22"/>
                                    </a:lnTo>
                                    <a:lnTo>
                                      <a:pt x="90" y="23"/>
                                    </a:lnTo>
                                    <a:lnTo>
                                      <a:pt x="91" y="23"/>
                                    </a:lnTo>
                                    <a:lnTo>
                                      <a:pt x="92" y="24"/>
                                    </a:lnTo>
                                    <a:lnTo>
                                      <a:pt x="93" y="25"/>
                                    </a:lnTo>
                                    <a:lnTo>
                                      <a:pt x="95" y="25"/>
                                    </a:lnTo>
                                    <a:lnTo>
                                      <a:pt x="95" y="25"/>
                                    </a:lnTo>
                                    <a:lnTo>
                                      <a:pt x="96" y="25"/>
                                    </a:lnTo>
                                    <a:lnTo>
                                      <a:pt x="97" y="25"/>
                                    </a:lnTo>
                                    <a:lnTo>
                                      <a:pt x="98" y="25"/>
                                    </a:lnTo>
                                  </a:path>
                                </a:pathLst>
                              </a:custGeom>
                              <a:solidFill>
                                <a:schemeClr val="accent1">
                                  <a:lumMod val="40000"/>
                                  <a:lumOff val="60000"/>
                                </a:schemeClr>
                              </a:solidFill>
                              <a:ln w="3175">
                                <a:solidFill>
                                  <a:schemeClr val="bg1"/>
                                </a:solidFill>
                              </a:ln>
                            </p:spPr>
                            <p:style>
                              <a:lnRef idx="2">
                                <a:schemeClr val="accent1">
                                  <a:shade val="50000"/>
                                </a:schemeClr>
                              </a:lnRef>
                              <a:fillRef idx="1">
                                <a:schemeClr val="accent1"/>
                              </a:fillRef>
                              <a:effectRef idx="0">
                                <a:schemeClr val="accent1"/>
                              </a:effectRef>
                              <a:fontRef idx="minor">
                                <a:schemeClr val="lt1"/>
                              </a:fontRef>
                            </p:style>
                            <p:txBody>
                              <a:bodyPr lIns="104000" tIns="104000" rIns="104000" bIns="104000" anchor="ctr"/>
                              <a:lstStyle/>
                              <a:p>
                                <a:pPr algn="ctr" defTabSz="457200">
                                  <a:lnSpc>
                                    <a:spcPct val="90000"/>
                                  </a:lnSpc>
                                  <a:buClr>
                                    <a:srgbClr val="0563C1"/>
                                  </a:buClr>
                                  <a:buSzPct val="110000"/>
                                  <a:defRPr/>
                                </a:pPr>
                                <a:endParaRPr lang="en-US" sz="1050" dirty="0">
                                  <a:solidFill>
                                    <a:prstClr val="white"/>
                                  </a:solidFill>
                                </a:endParaRPr>
                              </a:p>
                            </p:txBody>
                          </p:sp>
                          <p:sp>
                            <p:nvSpPr>
                              <p:cNvPr id="142" name="Freeform 12"/>
                              <p:cNvSpPr>
                                <a:spLocks/>
                              </p:cNvSpPr>
                              <p:nvPr/>
                            </p:nvSpPr>
                            <p:spPr bwMode="auto">
                              <a:xfrm>
                                <a:off x="750376" y="4137269"/>
                                <a:ext cx="1416690" cy="1669707"/>
                              </a:xfrm>
                              <a:custGeom>
                                <a:avLst/>
                                <a:gdLst/>
                                <a:ahLst/>
                                <a:cxnLst>
                                  <a:cxn ang="0">
                                    <a:pos x="141" y="28"/>
                                  </a:cxn>
                                  <a:cxn ang="0">
                                    <a:pos x="142" y="39"/>
                                  </a:cxn>
                                  <a:cxn ang="0">
                                    <a:pos x="134" y="42"/>
                                  </a:cxn>
                                  <a:cxn ang="0">
                                    <a:pos x="125" y="45"/>
                                  </a:cxn>
                                  <a:cxn ang="0">
                                    <a:pos x="112" y="143"/>
                                  </a:cxn>
                                  <a:cxn ang="0">
                                    <a:pos x="96" y="149"/>
                                  </a:cxn>
                                  <a:cxn ang="0">
                                    <a:pos x="92" y="138"/>
                                  </a:cxn>
                                  <a:cxn ang="0">
                                    <a:pos x="87" y="129"/>
                                  </a:cxn>
                                  <a:cxn ang="0">
                                    <a:pos x="75" y="118"/>
                                  </a:cxn>
                                  <a:cxn ang="0">
                                    <a:pos x="47" y="120"/>
                                  </a:cxn>
                                  <a:cxn ang="0">
                                    <a:pos x="38" y="125"/>
                                  </a:cxn>
                                  <a:cxn ang="0">
                                    <a:pos x="34" y="124"/>
                                  </a:cxn>
                                  <a:cxn ang="0">
                                    <a:pos x="35" y="118"/>
                                  </a:cxn>
                                  <a:cxn ang="0">
                                    <a:pos x="41" y="110"/>
                                  </a:cxn>
                                  <a:cxn ang="0">
                                    <a:pos x="43" y="104"/>
                                  </a:cxn>
                                  <a:cxn ang="0">
                                    <a:pos x="42" y="98"/>
                                  </a:cxn>
                                  <a:cxn ang="0">
                                    <a:pos x="34" y="93"/>
                                  </a:cxn>
                                  <a:cxn ang="0">
                                    <a:pos x="25" y="86"/>
                                  </a:cxn>
                                  <a:cxn ang="0">
                                    <a:pos x="21" y="81"/>
                                  </a:cxn>
                                  <a:cxn ang="0">
                                    <a:pos x="16" y="81"/>
                                  </a:cxn>
                                  <a:cxn ang="0">
                                    <a:pos x="16" y="71"/>
                                  </a:cxn>
                                  <a:cxn ang="0">
                                    <a:pos x="12" y="55"/>
                                  </a:cxn>
                                  <a:cxn ang="0">
                                    <a:pos x="11" y="46"/>
                                  </a:cxn>
                                  <a:cxn ang="0">
                                    <a:pos x="6" y="42"/>
                                  </a:cxn>
                                  <a:cxn ang="0">
                                    <a:pos x="0" y="39"/>
                                  </a:cxn>
                                  <a:cxn ang="0">
                                    <a:pos x="0" y="36"/>
                                  </a:cxn>
                                  <a:cxn ang="0">
                                    <a:pos x="3" y="33"/>
                                  </a:cxn>
                                  <a:cxn ang="0">
                                    <a:pos x="12" y="35"/>
                                  </a:cxn>
                                  <a:cxn ang="0">
                                    <a:pos x="14" y="37"/>
                                  </a:cxn>
                                  <a:cxn ang="0">
                                    <a:pos x="16" y="39"/>
                                  </a:cxn>
                                  <a:cxn ang="0">
                                    <a:pos x="24" y="40"/>
                                  </a:cxn>
                                  <a:cxn ang="0">
                                    <a:pos x="29" y="39"/>
                                  </a:cxn>
                                  <a:cxn ang="0">
                                    <a:pos x="22" y="32"/>
                                  </a:cxn>
                                  <a:cxn ang="0">
                                    <a:pos x="20" y="26"/>
                                  </a:cxn>
                                  <a:cxn ang="0">
                                    <a:pos x="23" y="25"/>
                                  </a:cxn>
                                  <a:cxn ang="0">
                                    <a:pos x="28" y="19"/>
                                  </a:cxn>
                                  <a:cxn ang="0">
                                    <a:pos x="33" y="16"/>
                                  </a:cxn>
                                  <a:cxn ang="0">
                                    <a:pos x="39" y="16"/>
                                  </a:cxn>
                                  <a:cxn ang="0">
                                    <a:pos x="50" y="21"/>
                                  </a:cxn>
                                  <a:cxn ang="0">
                                    <a:pos x="59" y="25"/>
                                  </a:cxn>
                                  <a:cxn ang="0">
                                    <a:pos x="78" y="30"/>
                                  </a:cxn>
                                  <a:cxn ang="0">
                                    <a:pos x="85" y="32"/>
                                  </a:cxn>
                                  <a:cxn ang="0">
                                    <a:pos x="80" y="34"/>
                                  </a:cxn>
                                  <a:cxn ang="0">
                                    <a:pos x="80" y="37"/>
                                  </a:cxn>
                                  <a:cxn ang="0">
                                    <a:pos x="86" y="39"/>
                                  </a:cxn>
                                  <a:cxn ang="0">
                                    <a:pos x="93" y="38"/>
                                  </a:cxn>
                                  <a:cxn ang="0">
                                    <a:pos x="92" y="30"/>
                                  </a:cxn>
                                  <a:cxn ang="0">
                                    <a:pos x="91" y="22"/>
                                  </a:cxn>
                                  <a:cxn ang="0">
                                    <a:pos x="88" y="20"/>
                                  </a:cxn>
                                  <a:cxn ang="0">
                                    <a:pos x="84" y="21"/>
                                  </a:cxn>
                                  <a:cxn ang="0">
                                    <a:pos x="80" y="23"/>
                                  </a:cxn>
                                  <a:cxn ang="0">
                                    <a:pos x="75" y="23"/>
                                  </a:cxn>
                                  <a:cxn ang="0">
                                    <a:pos x="70" y="19"/>
                                  </a:cxn>
                                  <a:cxn ang="0">
                                    <a:pos x="68" y="12"/>
                                  </a:cxn>
                                  <a:cxn ang="0">
                                    <a:pos x="72" y="6"/>
                                  </a:cxn>
                                  <a:cxn ang="0">
                                    <a:pos x="83" y="3"/>
                                  </a:cxn>
                                  <a:cxn ang="0">
                                    <a:pos x="94" y="2"/>
                                  </a:cxn>
                                  <a:cxn ang="0">
                                    <a:pos x="106" y="2"/>
                                  </a:cxn>
                                  <a:cxn ang="0">
                                    <a:pos x="116" y="4"/>
                                  </a:cxn>
                                  <a:cxn ang="0">
                                    <a:pos x="118" y="0"/>
                                  </a:cxn>
                                  <a:cxn ang="0">
                                    <a:pos x="125" y="6"/>
                                  </a:cxn>
                                  <a:cxn ang="0">
                                    <a:pos x="134" y="13"/>
                                  </a:cxn>
                                </a:cxnLst>
                                <a:rect l="0" t="0" r="r" b="b"/>
                                <a:pathLst>
                                  <a:path w="143" h="156">
                                    <a:moveTo>
                                      <a:pt x="141" y="15"/>
                                    </a:moveTo>
                                    <a:lnTo>
                                      <a:pt x="141" y="16"/>
                                    </a:lnTo>
                                    <a:lnTo>
                                      <a:pt x="141" y="18"/>
                                    </a:lnTo>
                                    <a:lnTo>
                                      <a:pt x="141" y="20"/>
                                    </a:lnTo>
                                    <a:lnTo>
                                      <a:pt x="141" y="21"/>
                                    </a:lnTo>
                                    <a:lnTo>
                                      <a:pt x="141" y="25"/>
                                    </a:lnTo>
                                    <a:lnTo>
                                      <a:pt x="141" y="28"/>
                                    </a:lnTo>
                                    <a:lnTo>
                                      <a:pt x="141" y="30"/>
                                    </a:lnTo>
                                    <a:lnTo>
                                      <a:pt x="141" y="32"/>
                                    </a:lnTo>
                                    <a:lnTo>
                                      <a:pt x="141" y="33"/>
                                    </a:lnTo>
                                    <a:lnTo>
                                      <a:pt x="141" y="35"/>
                                    </a:lnTo>
                                    <a:lnTo>
                                      <a:pt x="142" y="36"/>
                                    </a:lnTo>
                                    <a:lnTo>
                                      <a:pt x="142" y="38"/>
                                    </a:lnTo>
                                    <a:lnTo>
                                      <a:pt x="142" y="39"/>
                                    </a:lnTo>
                                    <a:lnTo>
                                      <a:pt x="143" y="40"/>
                                    </a:lnTo>
                                    <a:lnTo>
                                      <a:pt x="142" y="40"/>
                                    </a:lnTo>
                                    <a:lnTo>
                                      <a:pt x="141" y="41"/>
                                    </a:lnTo>
                                    <a:lnTo>
                                      <a:pt x="140" y="41"/>
                                    </a:lnTo>
                                    <a:lnTo>
                                      <a:pt x="139" y="41"/>
                                    </a:lnTo>
                                    <a:lnTo>
                                      <a:pt x="136" y="42"/>
                                    </a:lnTo>
                                    <a:lnTo>
                                      <a:pt x="134" y="42"/>
                                    </a:lnTo>
                                    <a:lnTo>
                                      <a:pt x="131" y="43"/>
                                    </a:lnTo>
                                    <a:lnTo>
                                      <a:pt x="130" y="43"/>
                                    </a:lnTo>
                                    <a:lnTo>
                                      <a:pt x="129" y="43"/>
                                    </a:lnTo>
                                    <a:lnTo>
                                      <a:pt x="127" y="43"/>
                                    </a:lnTo>
                                    <a:lnTo>
                                      <a:pt x="126" y="44"/>
                                    </a:lnTo>
                                    <a:lnTo>
                                      <a:pt x="125" y="44"/>
                                    </a:lnTo>
                                    <a:lnTo>
                                      <a:pt x="125" y="45"/>
                                    </a:lnTo>
                                    <a:lnTo>
                                      <a:pt x="123" y="59"/>
                                    </a:lnTo>
                                    <a:lnTo>
                                      <a:pt x="121" y="73"/>
                                    </a:lnTo>
                                    <a:lnTo>
                                      <a:pt x="120" y="87"/>
                                    </a:lnTo>
                                    <a:lnTo>
                                      <a:pt x="118" y="101"/>
                                    </a:lnTo>
                                    <a:lnTo>
                                      <a:pt x="116" y="115"/>
                                    </a:lnTo>
                                    <a:lnTo>
                                      <a:pt x="114" y="129"/>
                                    </a:lnTo>
                                    <a:lnTo>
                                      <a:pt x="112" y="143"/>
                                    </a:lnTo>
                                    <a:lnTo>
                                      <a:pt x="110" y="156"/>
                                    </a:lnTo>
                                    <a:lnTo>
                                      <a:pt x="100" y="156"/>
                                    </a:lnTo>
                                    <a:lnTo>
                                      <a:pt x="99" y="155"/>
                                    </a:lnTo>
                                    <a:lnTo>
                                      <a:pt x="99" y="154"/>
                                    </a:lnTo>
                                    <a:lnTo>
                                      <a:pt x="98" y="152"/>
                                    </a:lnTo>
                                    <a:lnTo>
                                      <a:pt x="97" y="151"/>
                                    </a:lnTo>
                                    <a:lnTo>
                                      <a:pt x="96" y="149"/>
                                    </a:lnTo>
                                    <a:lnTo>
                                      <a:pt x="94" y="146"/>
                                    </a:lnTo>
                                    <a:lnTo>
                                      <a:pt x="94" y="145"/>
                                    </a:lnTo>
                                    <a:lnTo>
                                      <a:pt x="93" y="144"/>
                                    </a:lnTo>
                                    <a:lnTo>
                                      <a:pt x="93" y="143"/>
                                    </a:lnTo>
                                    <a:lnTo>
                                      <a:pt x="92" y="141"/>
                                    </a:lnTo>
                                    <a:lnTo>
                                      <a:pt x="92" y="140"/>
                                    </a:lnTo>
                                    <a:lnTo>
                                      <a:pt x="92" y="138"/>
                                    </a:lnTo>
                                    <a:lnTo>
                                      <a:pt x="91" y="136"/>
                                    </a:lnTo>
                                    <a:lnTo>
                                      <a:pt x="91" y="135"/>
                                    </a:lnTo>
                                    <a:lnTo>
                                      <a:pt x="90" y="133"/>
                                    </a:lnTo>
                                    <a:lnTo>
                                      <a:pt x="90" y="132"/>
                                    </a:lnTo>
                                    <a:lnTo>
                                      <a:pt x="89" y="131"/>
                                    </a:lnTo>
                                    <a:lnTo>
                                      <a:pt x="88" y="130"/>
                                    </a:lnTo>
                                    <a:lnTo>
                                      <a:pt x="87" y="129"/>
                                    </a:lnTo>
                                    <a:lnTo>
                                      <a:pt x="86" y="128"/>
                                    </a:lnTo>
                                    <a:lnTo>
                                      <a:pt x="84" y="126"/>
                                    </a:lnTo>
                                    <a:lnTo>
                                      <a:pt x="81" y="124"/>
                                    </a:lnTo>
                                    <a:lnTo>
                                      <a:pt x="79" y="122"/>
                                    </a:lnTo>
                                    <a:lnTo>
                                      <a:pt x="77" y="120"/>
                                    </a:lnTo>
                                    <a:lnTo>
                                      <a:pt x="76" y="119"/>
                                    </a:lnTo>
                                    <a:lnTo>
                                      <a:pt x="75" y="118"/>
                                    </a:lnTo>
                                    <a:lnTo>
                                      <a:pt x="69" y="118"/>
                                    </a:lnTo>
                                    <a:lnTo>
                                      <a:pt x="63" y="118"/>
                                    </a:lnTo>
                                    <a:lnTo>
                                      <a:pt x="57" y="118"/>
                                    </a:lnTo>
                                    <a:lnTo>
                                      <a:pt x="51" y="118"/>
                                    </a:lnTo>
                                    <a:lnTo>
                                      <a:pt x="50" y="119"/>
                                    </a:lnTo>
                                    <a:lnTo>
                                      <a:pt x="49" y="119"/>
                                    </a:lnTo>
                                    <a:lnTo>
                                      <a:pt x="47" y="120"/>
                                    </a:lnTo>
                                    <a:lnTo>
                                      <a:pt x="45" y="121"/>
                                    </a:lnTo>
                                    <a:lnTo>
                                      <a:pt x="43" y="122"/>
                                    </a:lnTo>
                                    <a:lnTo>
                                      <a:pt x="42" y="123"/>
                                    </a:lnTo>
                                    <a:lnTo>
                                      <a:pt x="41" y="123"/>
                                    </a:lnTo>
                                    <a:lnTo>
                                      <a:pt x="40" y="124"/>
                                    </a:lnTo>
                                    <a:lnTo>
                                      <a:pt x="39" y="124"/>
                                    </a:lnTo>
                                    <a:lnTo>
                                      <a:pt x="38" y="125"/>
                                    </a:lnTo>
                                    <a:lnTo>
                                      <a:pt x="37" y="126"/>
                                    </a:lnTo>
                                    <a:lnTo>
                                      <a:pt x="37" y="127"/>
                                    </a:lnTo>
                                    <a:lnTo>
                                      <a:pt x="36" y="128"/>
                                    </a:lnTo>
                                    <a:lnTo>
                                      <a:pt x="36" y="127"/>
                                    </a:lnTo>
                                    <a:lnTo>
                                      <a:pt x="35" y="126"/>
                                    </a:lnTo>
                                    <a:lnTo>
                                      <a:pt x="35" y="125"/>
                                    </a:lnTo>
                                    <a:lnTo>
                                      <a:pt x="34" y="124"/>
                                    </a:lnTo>
                                    <a:lnTo>
                                      <a:pt x="34" y="123"/>
                                    </a:lnTo>
                                    <a:lnTo>
                                      <a:pt x="34" y="122"/>
                                    </a:lnTo>
                                    <a:lnTo>
                                      <a:pt x="34" y="121"/>
                                    </a:lnTo>
                                    <a:lnTo>
                                      <a:pt x="34" y="120"/>
                                    </a:lnTo>
                                    <a:lnTo>
                                      <a:pt x="35" y="120"/>
                                    </a:lnTo>
                                    <a:lnTo>
                                      <a:pt x="35" y="119"/>
                                    </a:lnTo>
                                    <a:lnTo>
                                      <a:pt x="35" y="118"/>
                                    </a:lnTo>
                                    <a:lnTo>
                                      <a:pt x="36" y="117"/>
                                    </a:lnTo>
                                    <a:lnTo>
                                      <a:pt x="36" y="117"/>
                                    </a:lnTo>
                                    <a:lnTo>
                                      <a:pt x="36" y="116"/>
                                    </a:lnTo>
                                    <a:lnTo>
                                      <a:pt x="37" y="114"/>
                                    </a:lnTo>
                                    <a:lnTo>
                                      <a:pt x="38" y="113"/>
                                    </a:lnTo>
                                    <a:lnTo>
                                      <a:pt x="40" y="112"/>
                                    </a:lnTo>
                                    <a:lnTo>
                                      <a:pt x="41" y="110"/>
                                    </a:lnTo>
                                    <a:lnTo>
                                      <a:pt x="41" y="110"/>
                                    </a:lnTo>
                                    <a:lnTo>
                                      <a:pt x="42" y="109"/>
                                    </a:lnTo>
                                    <a:lnTo>
                                      <a:pt x="42" y="108"/>
                                    </a:lnTo>
                                    <a:lnTo>
                                      <a:pt x="42" y="107"/>
                                    </a:lnTo>
                                    <a:lnTo>
                                      <a:pt x="43" y="106"/>
                                    </a:lnTo>
                                    <a:lnTo>
                                      <a:pt x="43" y="105"/>
                                    </a:lnTo>
                                    <a:lnTo>
                                      <a:pt x="43" y="104"/>
                                    </a:lnTo>
                                    <a:lnTo>
                                      <a:pt x="43" y="104"/>
                                    </a:lnTo>
                                    <a:lnTo>
                                      <a:pt x="43" y="102"/>
                                    </a:lnTo>
                                    <a:lnTo>
                                      <a:pt x="43" y="101"/>
                                    </a:lnTo>
                                    <a:lnTo>
                                      <a:pt x="43" y="101"/>
                                    </a:lnTo>
                                    <a:lnTo>
                                      <a:pt x="43" y="100"/>
                                    </a:lnTo>
                                    <a:lnTo>
                                      <a:pt x="42" y="99"/>
                                    </a:lnTo>
                                    <a:lnTo>
                                      <a:pt x="42" y="98"/>
                                    </a:lnTo>
                                    <a:lnTo>
                                      <a:pt x="41" y="97"/>
                                    </a:lnTo>
                                    <a:lnTo>
                                      <a:pt x="40" y="96"/>
                                    </a:lnTo>
                                    <a:lnTo>
                                      <a:pt x="39" y="95"/>
                                    </a:lnTo>
                                    <a:lnTo>
                                      <a:pt x="38" y="95"/>
                                    </a:lnTo>
                                    <a:lnTo>
                                      <a:pt x="37" y="94"/>
                                    </a:lnTo>
                                    <a:lnTo>
                                      <a:pt x="36" y="94"/>
                                    </a:lnTo>
                                    <a:lnTo>
                                      <a:pt x="34" y="93"/>
                                    </a:lnTo>
                                    <a:lnTo>
                                      <a:pt x="33" y="93"/>
                                    </a:lnTo>
                                    <a:lnTo>
                                      <a:pt x="32" y="93"/>
                                    </a:lnTo>
                                    <a:lnTo>
                                      <a:pt x="29" y="92"/>
                                    </a:lnTo>
                                    <a:lnTo>
                                      <a:pt x="26" y="91"/>
                                    </a:lnTo>
                                    <a:lnTo>
                                      <a:pt x="26" y="89"/>
                                    </a:lnTo>
                                    <a:lnTo>
                                      <a:pt x="25" y="87"/>
                                    </a:lnTo>
                                    <a:lnTo>
                                      <a:pt x="25" y="86"/>
                                    </a:lnTo>
                                    <a:lnTo>
                                      <a:pt x="25" y="85"/>
                                    </a:lnTo>
                                    <a:lnTo>
                                      <a:pt x="25" y="84"/>
                                    </a:lnTo>
                                    <a:lnTo>
                                      <a:pt x="24" y="84"/>
                                    </a:lnTo>
                                    <a:lnTo>
                                      <a:pt x="24" y="83"/>
                                    </a:lnTo>
                                    <a:lnTo>
                                      <a:pt x="23" y="82"/>
                                    </a:lnTo>
                                    <a:lnTo>
                                      <a:pt x="22" y="82"/>
                                    </a:lnTo>
                                    <a:lnTo>
                                      <a:pt x="21" y="81"/>
                                    </a:lnTo>
                                    <a:lnTo>
                                      <a:pt x="20" y="81"/>
                                    </a:lnTo>
                                    <a:lnTo>
                                      <a:pt x="20" y="81"/>
                                    </a:lnTo>
                                    <a:lnTo>
                                      <a:pt x="19" y="81"/>
                                    </a:lnTo>
                                    <a:lnTo>
                                      <a:pt x="19" y="81"/>
                                    </a:lnTo>
                                    <a:lnTo>
                                      <a:pt x="18" y="81"/>
                                    </a:lnTo>
                                    <a:lnTo>
                                      <a:pt x="17" y="81"/>
                                    </a:lnTo>
                                    <a:lnTo>
                                      <a:pt x="16" y="81"/>
                                    </a:lnTo>
                                    <a:lnTo>
                                      <a:pt x="16" y="80"/>
                                    </a:lnTo>
                                    <a:lnTo>
                                      <a:pt x="17" y="79"/>
                                    </a:lnTo>
                                    <a:lnTo>
                                      <a:pt x="17" y="77"/>
                                    </a:lnTo>
                                    <a:lnTo>
                                      <a:pt x="17" y="76"/>
                                    </a:lnTo>
                                    <a:lnTo>
                                      <a:pt x="17" y="75"/>
                                    </a:lnTo>
                                    <a:lnTo>
                                      <a:pt x="17" y="74"/>
                                    </a:lnTo>
                                    <a:lnTo>
                                      <a:pt x="16" y="71"/>
                                    </a:lnTo>
                                    <a:lnTo>
                                      <a:pt x="16" y="69"/>
                                    </a:lnTo>
                                    <a:lnTo>
                                      <a:pt x="15" y="67"/>
                                    </a:lnTo>
                                    <a:lnTo>
                                      <a:pt x="15" y="65"/>
                                    </a:lnTo>
                                    <a:lnTo>
                                      <a:pt x="14" y="63"/>
                                    </a:lnTo>
                                    <a:lnTo>
                                      <a:pt x="13" y="60"/>
                                    </a:lnTo>
                                    <a:lnTo>
                                      <a:pt x="13" y="58"/>
                                    </a:lnTo>
                                    <a:lnTo>
                                      <a:pt x="12" y="55"/>
                                    </a:lnTo>
                                    <a:lnTo>
                                      <a:pt x="12" y="53"/>
                                    </a:lnTo>
                                    <a:lnTo>
                                      <a:pt x="11" y="51"/>
                                    </a:lnTo>
                                    <a:lnTo>
                                      <a:pt x="11" y="49"/>
                                    </a:lnTo>
                                    <a:lnTo>
                                      <a:pt x="11" y="48"/>
                                    </a:lnTo>
                                    <a:lnTo>
                                      <a:pt x="11" y="47"/>
                                    </a:lnTo>
                                    <a:lnTo>
                                      <a:pt x="11" y="46"/>
                                    </a:lnTo>
                                    <a:lnTo>
                                      <a:pt x="11" y="46"/>
                                    </a:lnTo>
                                    <a:lnTo>
                                      <a:pt x="11" y="45"/>
                                    </a:lnTo>
                                    <a:lnTo>
                                      <a:pt x="10" y="45"/>
                                    </a:lnTo>
                                    <a:lnTo>
                                      <a:pt x="10" y="44"/>
                                    </a:lnTo>
                                    <a:lnTo>
                                      <a:pt x="9" y="43"/>
                                    </a:lnTo>
                                    <a:lnTo>
                                      <a:pt x="8" y="43"/>
                                    </a:lnTo>
                                    <a:lnTo>
                                      <a:pt x="7" y="42"/>
                                    </a:lnTo>
                                    <a:lnTo>
                                      <a:pt x="6" y="42"/>
                                    </a:lnTo>
                                    <a:lnTo>
                                      <a:pt x="5" y="42"/>
                                    </a:lnTo>
                                    <a:lnTo>
                                      <a:pt x="4" y="41"/>
                                    </a:lnTo>
                                    <a:lnTo>
                                      <a:pt x="3" y="41"/>
                                    </a:lnTo>
                                    <a:lnTo>
                                      <a:pt x="2" y="41"/>
                                    </a:lnTo>
                                    <a:lnTo>
                                      <a:pt x="1" y="40"/>
                                    </a:lnTo>
                                    <a:lnTo>
                                      <a:pt x="1" y="39"/>
                                    </a:lnTo>
                                    <a:lnTo>
                                      <a:pt x="0" y="39"/>
                                    </a:lnTo>
                                    <a:lnTo>
                                      <a:pt x="0" y="39"/>
                                    </a:lnTo>
                                    <a:lnTo>
                                      <a:pt x="0" y="38"/>
                                    </a:lnTo>
                                    <a:lnTo>
                                      <a:pt x="0" y="38"/>
                                    </a:lnTo>
                                    <a:lnTo>
                                      <a:pt x="0" y="37"/>
                                    </a:lnTo>
                                    <a:lnTo>
                                      <a:pt x="0" y="37"/>
                                    </a:lnTo>
                                    <a:lnTo>
                                      <a:pt x="0" y="36"/>
                                    </a:lnTo>
                                    <a:lnTo>
                                      <a:pt x="0" y="36"/>
                                    </a:lnTo>
                                    <a:lnTo>
                                      <a:pt x="0" y="35"/>
                                    </a:lnTo>
                                    <a:lnTo>
                                      <a:pt x="1" y="35"/>
                                    </a:lnTo>
                                    <a:lnTo>
                                      <a:pt x="1" y="34"/>
                                    </a:lnTo>
                                    <a:lnTo>
                                      <a:pt x="1" y="34"/>
                                    </a:lnTo>
                                    <a:lnTo>
                                      <a:pt x="2" y="34"/>
                                    </a:lnTo>
                                    <a:lnTo>
                                      <a:pt x="3" y="34"/>
                                    </a:lnTo>
                                    <a:lnTo>
                                      <a:pt x="3" y="33"/>
                                    </a:lnTo>
                                    <a:lnTo>
                                      <a:pt x="4" y="33"/>
                                    </a:lnTo>
                                    <a:lnTo>
                                      <a:pt x="5" y="33"/>
                                    </a:lnTo>
                                    <a:lnTo>
                                      <a:pt x="6" y="34"/>
                                    </a:lnTo>
                                    <a:lnTo>
                                      <a:pt x="7" y="34"/>
                                    </a:lnTo>
                                    <a:lnTo>
                                      <a:pt x="9" y="34"/>
                                    </a:lnTo>
                                    <a:lnTo>
                                      <a:pt x="11" y="35"/>
                                    </a:lnTo>
                                    <a:lnTo>
                                      <a:pt x="12" y="35"/>
                                    </a:lnTo>
                                    <a:lnTo>
                                      <a:pt x="13" y="35"/>
                                    </a:lnTo>
                                    <a:lnTo>
                                      <a:pt x="13" y="35"/>
                                    </a:lnTo>
                                    <a:lnTo>
                                      <a:pt x="13" y="36"/>
                                    </a:lnTo>
                                    <a:lnTo>
                                      <a:pt x="13" y="36"/>
                                    </a:lnTo>
                                    <a:lnTo>
                                      <a:pt x="14" y="36"/>
                                    </a:lnTo>
                                    <a:lnTo>
                                      <a:pt x="14" y="36"/>
                                    </a:lnTo>
                                    <a:lnTo>
                                      <a:pt x="14" y="37"/>
                                    </a:lnTo>
                                    <a:lnTo>
                                      <a:pt x="15" y="37"/>
                                    </a:lnTo>
                                    <a:lnTo>
                                      <a:pt x="16" y="37"/>
                                    </a:lnTo>
                                    <a:lnTo>
                                      <a:pt x="16" y="38"/>
                                    </a:lnTo>
                                    <a:lnTo>
                                      <a:pt x="16" y="38"/>
                                    </a:lnTo>
                                    <a:lnTo>
                                      <a:pt x="16" y="38"/>
                                    </a:lnTo>
                                    <a:lnTo>
                                      <a:pt x="16" y="39"/>
                                    </a:lnTo>
                                    <a:lnTo>
                                      <a:pt x="16" y="39"/>
                                    </a:lnTo>
                                    <a:lnTo>
                                      <a:pt x="16" y="40"/>
                                    </a:lnTo>
                                    <a:lnTo>
                                      <a:pt x="17" y="40"/>
                                    </a:lnTo>
                                    <a:lnTo>
                                      <a:pt x="18" y="40"/>
                                    </a:lnTo>
                                    <a:lnTo>
                                      <a:pt x="19" y="40"/>
                                    </a:lnTo>
                                    <a:lnTo>
                                      <a:pt x="20" y="40"/>
                                    </a:lnTo>
                                    <a:lnTo>
                                      <a:pt x="22" y="40"/>
                                    </a:lnTo>
                                    <a:lnTo>
                                      <a:pt x="24" y="40"/>
                                    </a:lnTo>
                                    <a:lnTo>
                                      <a:pt x="25" y="40"/>
                                    </a:lnTo>
                                    <a:lnTo>
                                      <a:pt x="27" y="41"/>
                                    </a:lnTo>
                                    <a:lnTo>
                                      <a:pt x="28" y="41"/>
                                    </a:lnTo>
                                    <a:lnTo>
                                      <a:pt x="30" y="41"/>
                                    </a:lnTo>
                                    <a:lnTo>
                                      <a:pt x="30" y="41"/>
                                    </a:lnTo>
                                    <a:lnTo>
                                      <a:pt x="29" y="40"/>
                                    </a:lnTo>
                                    <a:lnTo>
                                      <a:pt x="29" y="39"/>
                                    </a:lnTo>
                                    <a:lnTo>
                                      <a:pt x="28" y="38"/>
                                    </a:lnTo>
                                    <a:lnTo>
                                      <a:pt x="27" y="37"/>
                                    </a:lnTo>
                                    <a:lnTo>
                                      <a:pt x="27" y="36"/>
                                    </a:lnTo>
                                    <a:lnTo>
                                      <a:pt x="26" y="35"/>
                                    </a:lnTo>
                                    <a:lnTo>
                                      <a:pt x="24" y="34"/>
                                    </a:lnTo>
                                    <a:lnTo>
                                      <a:pt x="23" y="33"/>
                                    </a:lnTo>
                                    <a:lnTo>
                                      <a:pt x="22" y="32"/>
                                    </a:lnTo>
                                    <a:lnTo>
                                      <a:pt x="22" y="31"/>
                                    </a:lnTo>
                                    <a:lnTo>
                                      <a:pt x="21" y="30"/>
                                    </a:lnTo>
                                    <a:lnTo>
                                      <a:pt x="20" y="29"/>
                                    </a:lnTo>
                                    <a:lnTo>
                                      <a:pt x="20" y="28"/>
                                    </a:lnTo>
                                    <a:lnTo>
                                      <a:pt x="20" y="27"/>
                                    </a:lnTo>
                                    <a:lnTo>
                                      <a:pt x="20" y="26"/>
                                    </a:lnTo>
                                    <a:lnTo>
                                      <a:pt x="20" y="26"/>
                                    </a:lnTo>
                                    <a:lnTo>
                                      <a:pt x="20" y="25"/>
                                    </a:lnTo>
                                    <a:lnTo>
                                      <a:pt x="20" y="25"/>
                                    </a:lnTo>
                                    <a:lnTo>
                                      <a:pt x="21" y="25"/>
                                    </a:lnTo>
                                    <a:lnTo>
                                      <a:pt x="22" y="25"/>
                                    </a:lnTo>
                                    <a:lnTo>
                                      <a:pt x="22" y="25"/>
                                    </a:lnTo>
                                    <a:lnTo>
                                      <a:pt x="23" y="25"/>
                                    </a:lnTo>
                                    <a:lnTo>
                                      <a:pt x="23" y="25"/>
                                    </a:lnTo>
                                    <a:lnTo>
                                      <a:pt x="24" y="25"/>
                                    </a:lnTo>
                                    <a:lnTo>
                                      <a:pt x="25" y="24"/>
                                    </a:lnTo>
                                    <a:lnTo>
                                      <a:pt x="26" y="23"/>
                                    </a:lnTo>
                                    <a:lnTo>
                                      <a:pt x="26" y="23"/>
                                    </a:lnTo>
                                    <a:lnTo>
                                      <a:pt x="27" y="22"/>
                                    </a:lnTo>
                                    <a:lnTo>
                                      <a:pt x="28" y="20"/>
                                    </a:lnTo>
                                    <a:lnTo>
                                      <a:pt x="28" y="19"/>
                                    </a:lnTo>
                                    <a:lnTo>
                                      <a:pt x="29" y="19"/>
                                    </a:lnTo>
                                    <a:lnTo>
                                      <a:pt x="29" y="18"/>
                                    </a:lnTo>
                                    <a:lnTo>
                                      <a:pt x="30" y="17"/>
                                    </a:lnTo>
                                    <a:lnTo>
                                      <a:pt x="30" y="17"/>
                                    </a:lnTo>
                                    <a:lnTo>
                                      <a:pt x="31" y="17"/>
                                    </a:lnTo>
                                    <a:lnTo>
                                      <a:pt x="32" y="16"/>
                                    </a:lnTo>
                                    <a:lnTo>
                                      <a:pt x="33" y="16"/>
                                    </a:lnTo>
                                    <a:lnTo>
                                      <a:pt x="34" y="16"/>
                                    </a:lnTo>
                                    <a:lnTo>
                                      <a:pt x="35" y="16"/>
                                    </a:lnTo>
                                    <a:lnTo>
                                      <a:pt x="35" y="16"/>
                                    </a:lnTo>
                                    <a:lnTo>
                                      <a:pt x="36" y="15"/>
                                    </a:lnTo>
                                    <a:lnTo>
                                      <a:pt x="37" y="15"/>
                                    </a:lnTo>
                                    <a:lnTo>
                                      <a:pt x="38" y="16"/>
                                    </a:lnTo>
                                    <a:lnTo>
                                      <a:pt x="39" y="16"/>
                                    </a:lnTo>
                                    <a:lnTo>
                                      <a:pt x="41" y="16"/>
                                    </a:lnTo>
                                    <a:lnTo>
                                      <a:pt x="42" y="17"/>
                                    </a:lnTo>
                                    <a:lnTo>
                                      <a:pt x="43" y="17"/>
                                    </a:lnTo>
                                    <a:lnTo>
                                      <a:pt x="45" y="18"/>
                                    </a:lnTo>
                                    <a:lnTo>
                                      <a:pt x="46" y="19"/>
                                    </a:lnTo>
                                    <a:lnTo>
                                      <a:pt x="49" y="20"/>
                                    </a:lnTo>
                                    <a:lnTo>
                                      <a:pt x="50" y="21"/>
                                    </a:lnTo>
                                    <a:lnTo>
                                      <a:pt x="52" y="22"/>
                                    </a:lnTo>
                                    <a:lnTo>
                                      <a:pt x="53" y="23"/>
                                    </a:lnTo>
                                    <a:lnTo>
                                      <a:pt x="55" y="23"/>
                                    </a:lnTo>
                                    <a:lnTo>
                                      <a:pt x="56" y="24"/>
                                    </a:lnTo>
                                    <a:lnTo>
                                      <a:pt x="57" y="24"/>
                                    </a:lnTo>
                                    <a:lnTo>
                                      <a:pt x="58" y="24"/>
                                    </a:lnTo>
                                    <a:lnTo>
                                      <a:pt x="59" y="25"/>
                                    </a:lnTo>
                                    <a:lnTo>
                                      <a:pt x="62" y="26"/>
                                    </a:lnTo>
                                    <a:lnTo>
                                      <a:pt x="65" y="27"/>
                                    </a:lnTo>
                                    <a:lnTo>
                                      <a:pt x="67" y="27"/>
                                    </a:lnTo>
                                    <a:lnTo>
                                      <a:pt x="70" y="28"/>
                                    </a:lnTo>
                                    <a:lnTo>
                                      <a:pt x="73" y="29"/>
                                    </a:lnTo>
                                    <a:lnTo>
                                      <a:pt x="75" y="29"/>
                                    </a:lnTo>
                                    <a:lnTo>
                                      <a:pt x="78" y="30"/>
                                    </a:lnTo>
                                    <a:lnTo>
                                      <a:pt x="81" y="30"/>
                                    </a:lnTo>
                                    <a:lnTo>
                                      <a:pt x="83" y="30"/>
                                    </a:lnTo>
                                    <a:lnTo>
                                      <a:pt x="86" y="30"/>
                                    </a:lnTo>
                                    <a:lnTo>
                                      <a:pt x="86" y="30"/>
                                    </a:lnTo>
                                    <a:lnTo>
                                      <a:pt x="86" y="31"/>
                                    </a:lnTo>
                                    <a:lnTo>
                                      <a:pt x="85" y="31"/>
                                    </a:lnTo>
                                    <a:lnTo>
                                      <a:pt x="85" y="32"/>
                                    </a:lnTo>
                                    <a:lnTo>
                                      <a:pt x="84" y="32"/>
                                    </a:lnTo>
                                    <a:lnTo>
                                      <a:pt x="84" y="32"/>
                                    </a:lnTo>
                                    <a:lnTo>
                                      <a:pt x="82" y="32"/>
                                    </a:lnTo>
                                    <a:lnTo>
                                      <a:pt x="82" y="32"/>
                                    </a:lnTo>
                                    <a:lnTo>
                                      <a:pt x="81" y="33"/>
                                    </a:lnTo>
                                    <a:lnTo>
                                      <a:pt x="80" y="33"/>
                                    </a:lnTo>
                                    <a:lnTo>
                                      <a:pt x="80" y="34"/>
                                    </a:lnTo>
                                    <a:lnTo>
                                      <a:pt x="80" y="34"/>
                                    </a:lnTo>
                                    <a:lnTo>
                                      <a:pt x="79" y="35"/>
                                    </a:lnTo>
                                    <a:lnTo>
                                      <a:pt x="79" y="35"/>
                                    </a:lnTo>
                                    <a:lnTo>
                                      <a:pt x="79" y="36"/>
                                    </a:lnTo>
                                    <a:lnTo>
                                      <a:pt x="79" y="36"/>
                                    </a:lnTo>
                                    <a:lnTo>
                                      <a:pt x="80" y="37"/>
                                    </a:lnTo>
                                    <a:lnTo>
                                      <a:pt x="80" y="37"/>
                                    </a:lnTo>
                                    <a:lnTo>
                                      <a:pt x="81" y="38"/>
                                    </a:lnTo>
                                    <a:lnTo>
                                      <a:pt x="82" y="38"/>
                                    </a:lnTo>
                                    <a:lnTo>
                                      <a:pt x="82" y="39"/>
                                    </a:lnTo>
                                    <a:lnTo>
                                      <a:pt x="83" y="39"/>
                                    </a:lnTo>
                                    <a:lnTo>
                                      <a:pt x="84" y="39"/>
                                    </a:lnTo>
                                    <a:lnTo>
                                      <a:pt x="85" y="39"/>
                                    </a:lnTo>
                                    <a:lnTo>
                                      <a:pt x="86" y="39"/>
                                    </a:lnTo>
                                    <a:lnTo>
                                      <a:pt x="87" y="39"/>
                                    </a:lnTo>
                                    <a:lnTo>
                                      <a:pt x="88" y="39"/>
                                    </a:lnTo>
                                    <a:lnTo>
                                      <a:pt x="90" y="39"/>
                                    </a:lnTo>
                                    <a:lnTo>
                                      <a:pt x="91" y="39"/>
                                    </a:lnTo>
                                    <a:lnTo>
                                      <a:pt x="91" y="38"/>
                                    </a:lnTo>
                                    <a:lnTo>
                                      <a:pt x="92" y="38"/>
                                    </a:lnTo>
                                    <a:lnTo>
                                      <a:pt x="93" y="38"/>
                                    </a:lnTo>
                                    <a:lnTo>
                                      <a:pt x="93" y="37"/>
                                    </a:lnTo>
                                    <a:lnTo>
                                      <a:pt x="92" y="37"/>
                                    </a:lnTo>
                                    <a:lnTo>
                                      <a:pt x="92" y="35"/>
                                    </a:lnTo>
                                    <a:lnTo>
                                      <a:pt x="92" y="34"/>
                                    </a:lnTo>
                                    <a:lnTo>
                                      <a:pt x="92" y="33"/>
                                    </a:lnTo>
                                    <a:lnTo>
                                      <a:pt x="92" y="31"/>
                                    </a:lnTo>
                                    <a:lnTo>
                                      <a:pt x="92" y="30"/>
                                    </a:lnTo>
                                    <a:lnTo>
                                      <a:pt x="92" y="29"/>
                                    </a:lnTo>
                                    <a:lnTo>
                                      <a:pt x="92" y="28"/>
                                    </a:lnTo>
                                    <a:lnTo>
                                      <a:pt x="92" y="26"/>
                                    </a:lnTo>
                                    <a:lnTo>
                                      <a:pt x="92" y="25"/>
                                    </a:lnTo>
                                    <a:lnTo>
                                      <a:pt x="92" y="24"/>
                                    </a:lnTo>
                                    <a:lnTo>
                                      <a:pt x="92" y="23"/>
                                    </a:lnTo>
                                    <a:lnTo>
                                      <a:pt x="91" y="22"/>
                                    </a:lnTo>
                                    <a:lnTo>
                                      <a:pt x="91" y="21"/>
                                    </a:lnTo>
                                    <a:lnTo>
                                      <a:pt x="91" y="21"/>
                                    </a:lnTo>
                                    <a:lnTo>
                                      <a:pt x="90" y="21"/>
                                    </a:lnTo>
                                    <a:lnTo>
                                      <a:pt x="90" y="20"/>
                                    </a:lnTo>
                                    <a:lnTo>
                                      <a:pt x="90" y="20"/>
                                    </a:lnTo>
                                    <a:lnTo>
                                      <a:pt x="89" y="20"/>
                                    </a:lnTo>
                                    <a:lnTo>
                                      <a:pt x="88" y="20"/>
                                    </a:lnTo>
                                    <a:lnTo>
                                      <a:pt x="88" y="20"/>
                                    </a:lnTo>
                                    <a:lnTo>
                                      <a:pt x="87" y="20"/>
                                    </a:lnTo>
                                    <a:lnTo>
                                      <a:pt x="87" y="20"/>
                                    </a:lnTo>
                                    <a:lnTo>
                                      <a:pt x="86" y="20"/>
                                    </a:lnTo>
                                    <a:lnTo>
                                      <a:pt x="85" y="20"/>
                                    </a:lnTo>
                                    <a:lnTo>
                                      <a:pt x="85" y="21"/>
                                    </a:lnTo>
                                    <a:lnTo>
                                      <a:pt x="84" y="21"/>
                                    </a:lnTo>
                                    <a:lnTo>
                                      <a:pt x="84" y="22"/>
                                    </a:lnTo>
                                    <a:lnTo>
                                      <a:pt x="83" y="22"/>
                                    </a:lnTo>
                                    <a:lnTo>
                                      <a:pt x="83" y="22"/>
                                    </a:lnTo>
                                    <a:lnTo>
                                      <a:pt x="82" y="23"/>
                                    </a:lnTo>
                                    <a:lnTo>
                                      <a:pt x="82" y="23"/>
                                    </a:lnTo>
                                    <a:lnTo>
                                      <a:pt x="81" y="23"/>
                                    </a:lnTo>
                                    <a:lnTo>
                                      <a:pt x="80" y="23"/>
                                    </a:lnTo>
                                    <a:lnTo>
                                      <a:pt x="80" y="23"/>
                                    </a:lnTo>
                                    <a:lnTo>
                                      <a:pt x="79" y="23"/>
                                    </a:lnTo>
                                    <a:lnTo>
                                      <a:pt x="79" y="23"/>
                                    </a:lnTo>
                                    <a:lnTo>
                                      <a:pt x="78" y="23"/>
                                    </a:lnTo>
                                    <a:lnTo>
                                      <a:pt x="77" y="23"/>
                                    </a:lnTo>
                                    <a:lnTo>
                                      <a:pt x="76" y="23"/>
                                    </a:lnTo>
                                    <a:lnTo>
                                      <a:pt x="75" y="23"/>
                                    </a:lnTo>
                                    <a:lnTo>
                                      <a:pt x="75" y="22"/>
                                    </a:lnTo>
                                    <a:lnTo>
                                      <a:pt x="74" y="22"/>
                                    </a:lnTo>
                                    <a:lnTo>
                                      <a:pt x="73" y="22"/>
                                    </a:lnTo>
                                    <a:lnTo>
                                      <a:pt x="73" y="21"/>
                                    </a:lnTo>
                                    <a:lnTo>
                                      <a:pt x="72" y="21"/>
                                    </a:lnTo>
                                    <a:lnTo>
                                      <a:pt x="71" y="20"/>
                                    </a:lnTo>
                                    <a:lnTo>
                                      <a:pt x="70" y="19"/>
                                    </a:lnTo>
                                    <a:lnTo>
                                      <a:pt x="69" y="17"/>
                                    </a:lnTo>
                                    <a:lnTo>
                                      <a:pt x="69" y="17"/>
                                    </a:lnTo>
                                    <a:lnTo>
                                      <a:pt x="68" y="17"/>
                                    </a:lnTo>
                                    <a:lnTo>
                                      <a:pt x="68" y="15"/>
                                    </a:lnTo>
                                    <a:lnTo>
                                      <a:pt x="68" y="14"/>
                                    </a:lnTo>
                                    <a:lnTo>
                                      <a:pt x="68" y="13"/>
                                    </a:lnTo>
                                    <a:lnTo>
                                      <a:pt x="68" y="12"/>
                                    </a:lnTo>
                                    <a:lnTo>
                                      <a:pt x="69" y="11"/>
                                    </a:lnTo>
                                    <a:lnTo>
                                      <a:pt x="69" y="11"/>
                                    </a:lnTo>
                                    <a:lnTo>
                                      <a:pt x="69" y="10"/>
                                    </a:lnTo>
                                    <a:lnTo>
                                      <a:pt x="70" y="9"/>
                                    </a:lnTo>
                                    <a:lnTo>
                                      <a:pt x="71" y="8"/>
                                    </a:lnTo>
                                    <a:lnTo>
                                      <a:pt x="72" y="6"/>
                                    </a:lnTo>
                                    <a:lnTo>
                                      <a:pt x="72" y="6"/>
                                    </a:lnTo>
                                    <a:lnTo>
                                      <a:pt x="72" y="5"/>
                                    </a:lnTo>
                                    <a:lnTo>
                                      <a:pt x="73" y="4"/>
                                    </a:lnTo>
                                    <a:lnTo>
                                      <a:pt x="73" y="3"/>
                                    </a:lnTo>
                                    <a:lnTo>
                                      <a:pt x="78" y="3"/>
                                    </a:lnTo>
                                    <a:lnTo>
                                      <a:pt x="80" y="3"/>
                                    </a:lnTo>
                                    <a:lnTo>
                                      <a:pt x="81" y="3"/>
                                    </a:lnTo>
                                    <a:lnTo>
                                      <a:pt x="83" y="3"/>
                                    </a:lnTo>
                                    <a:lnTo>
                                      <a:pt x="85" y="3"/>
                                    </a:lnTo>
                                    <a:lnTo>
                                      <a:pt x="86" y="3"/>
                                    </a:lnTo>
                                    <a:lnTo>
                                      <a:pt x="88" y="3"/>
                                    </a:lnTo>
                                    <a:lnTo>
                                      <a:pt x="89" y="3"/>
                                    </a:lnTo>
                                    <a:lnTo>
                                      <a:pt x="91" y="3"/>
                                    </a:lnTo>
                                    <a:lnTo>
                                      <a:pt x="92" y="3"/>
                                    </a:lnTo>
                                    <a:lnTo>
                                      <a:pt x="94" y="2"/>
                                    </a:lnTo>
                                    <a:lnTo>
                                      <a:pt x="95" y="2"/>
                                    </a:lnTo>
                                    <a:lnTo>
                                      <a:pt x="96" y="2"/>
                                    </a:lnTo>
                                    <a:lnTo>
                                      <a:pt x="99" y="1"/>
                                    </a:lnTo>
                                    <a:lnTo>
                                      <a:pt x="101" y="0"/>
                                    </a:lnTo>
                                    <a:lnTo>
                                      <a:pt x="103" y="1"/>
                                    </a:lnTo>
                                    <a:lnTo>
                                      <a:pt x="104" y="1"/>
                                    </a:lnTo>
                                    <a:lnTo>
                                      <a:pt x="106" y="2"/>
                                    </a:lnTo>
                                    <a:lnTo>
                                      <a:pt x="108" y="3"/>
                                    </a:lnTo>
                                    <a:lnTo>
                                      <a:pt x="111" y="4"/>
                                    </a:lnTo>
                                    <a:lnTo>
                                      <a:pt x="115" y="5"/>
                                    </a:lnTo>
                                    <a:lnTo>
                                      <a:pt x="115" y="5"/>
                                    </a:lnTo>
                                    <a:lnTo>
                                      <a:pt x="116" y="5"/>
                                    </a:lnTo>
                                    <a:lnTo>
                                      <a:pt x="116" y="5"/>
                                    </a:lnTo>
                                    <a:lnTo>
                                      <a:pt x="116" y="4"/>
                                    </a:lnTo>
                                    <a:lnTo>
                                      <a:pt x="117" y="4"/>
                                    </a:lnTo>
                                    <a:lnTo>
                                      <a:pt x="117" y="3"/>
                                    </a:lnTo>
                                    <a:lnTo>
                                      <a:pt x="117" y="3"/>
                                    </a:lnTo>
                                    <a:lnTo>
                                      <a:pt x="118" y="2"/>
                                    </a:lnTo>
                                    <a:lnTo>
                                      <a:pt x="118" y="1"/>
                                    </a:lnTo>
                                    <a:lnTo>
                                      <a:pt x="118" y="1"/>
                                    </a:lnTo>
                                    <a:lnTo>
                                      <a:pt x="118" y="0"/>
                                    </a:lnTo>
                                    <a:lnTo>
                                      <a:pt x="119" y="0"/>
                                    </a:lnTo>
                                    <a:lnTo>
                                      <a:pt x="119" y="0"/>
                                    </a:lnTo>
                                    <a:lnTo>
                                      <a:pt x="120" y="0"/>
                                    </a:lnTo>
                                    <a:lnTo>
                                      <a:pt x="121" y="1"/>
                                    </a:lnTo>
                                    <a:lnTo>
                                      <a:pt x="122" y="2"/>
                                    </a:lnTo>
                                    <a:lnTo>
                                      <a:pt x="124" y="5"/>
                                    </a:lnTo>
                                    <a:lnTo>
                                      <a:pt x="125" y="6"/>
                                    </a:lnTo>
                                    <a:lnTo>
                                      <a:pt x="126" y="7"/>
                                    </a:lnTo>
                                    <a:lnTo>
                                      <a:pt x="127" y="8"/>
                                    </a:lnTo>
                                    <a:lnTo>
                                      <a:pt x="128" y="10"/>
                                    </a:lnTo>
                                    <a:lnTo>
                                      <a:pt x="129" y="11"/>
                                    </a:lnTo>
                                    <a:lnTo>
                                      <a:pt x="131" y="12"/>
                                    </a:lnTo>
                                    <a:lnTo>
                                      <a:pt x="132" y="12"/>
                                    </a:lnTo>
                                    <a:lnTo>
                                      <a:pt x="134" y="13"/>
                                    </a:lnTo>
                                    <a:lnTo>
                                      <a:pt x="135" y="14"/>
                                    </a:lnTo>
                                    <a:lnTo>
                                      <a:pt x="137" y="14"/>
                                    </a:lnTo>
                                    <a:lnTo>
                                      <a:pt x="138" y="15"/>
                                    </a:lnTo>
                                    <a:lnTo>
                                      <a:pt x="139" y="15"/>
                                    </a:lnTo>
                                    <a:lnTo>
                                      <a:pt x="140" y="15"/>
                                    </a:lnTo>
                                    <a:lnTo>
                                      <a:pt x="141" y="15"/>
                                    </a:lnTo>
                                  </a:path>
                                </a:pathLst>
                              </a:custGeom>
                              <a:solidFill>
                                <a:schemeClr val="accent1">
                                  <a:lumMod val="40000"/>
                                  <a:lumOff val="60000"/>
                                </a:schemeClr>
                              </a:solidFill>
                              <a:ln w="3175">
                                <a:solidFill>
                                  <a:schemeClr val="bg1"/>
                                </a:solidFill>
                              </a:ln>
                            </p:spPr>
                            <p:style>
                              <a:lnRef idx="2">
                                <a:schemeClr val="accent1">
                                  <a:shade val="50000"/>
                                </a:schemeClr>
                              </a:lnRef>
                              <a:fillRef idx="1">
                                <a:schemeClr val="accent1"/>
                              </a:fillRef>
                              <a:effectRef idx="0">
                                <a:schemeClr val="accent1"/>
                              </a:effectRef>
                              <a:fontRef idx="minor">
                                <a:schemeClr val="lt1"/>
                              </a:fontRef>
                            </p:style>
                            <p:txBody>
                              <a:bodyPr lIns="104000" tIns="104000" rIns="104000" bIns="104000" anchor="ctr"/>
                              <a:lstStyle/>
                              <a:p>
                                <a:pPr algn="ctr" defTabSz="457200">
                                  <a:lnSpc>
                                    <a:spcPct val="90000"/>
                                  </a:lnSpc>
                                  <a:buClr>
                                    <a:srgbClr val="0563C1"/>
                                  </a:buClr>
                                  <a:buSzPct val="110000"/>
                                </a:pPr>
                                <a:endParaRPr lang="en-US" sz="1050" dirty="0">
                                  <a:solidFill>
                                    <a:prstClr val="white"/>
                                  </a:solidFill>
                                </a:endParaRPr>
                              </a:p>
                            </p:txBody>
                          </p:sp>
                          <p:sp>
                            <p:nvSpPr>
                              <p:cNvPr id="143" name="Freeform 13"/>
                              <p:cNvSpPr>
                                <a:spLocks/>
                              </p:cNvSpPr>
                              <p:nvPr/>
                            </p:nvSpPr>
                            <p:spPr bwMode="auto">
                              <a:xfrm>
                                <a:off x="4204423" y="4469244"/>
                                <a:ext cx="1091360" cy="1768068"/>
                              </a:xfrm>
                              <a:custGeom>
                                <a:avLst/>
                                <a:gdLst/>
                                <a:ahLst/>
                                <a:cxnLst>
                                  <a:cxn ang="0">
                                    <a:pos x="77" y="17"/>
                                  </a:cxn>
                                  <a:cxn ang="0">
                                    <a:pos x="84" y="37"/>
                                  </a:cxn>
                                  <a:cxn ang="0">
                                    <a:pos x="86" y="57"/>
                                  </a:cxn>
                                  <a:cxn ang="0">
                                    <a:pos x="81" y="75"/>
                                  </a:cxn>
                                  <a:cxn ang="0">
                                    <a:pos x="91" y="84"/>
                                  </a:cxn>
                                  <a:cxn ang="0">
                                    <a:pos x="97" y="94"/>
                                  </a:cxn>
                                  <a:cxn ang="0">
                                    <a:pos x="102" y="104"/>
                                  </a:cxn>
                                  <a:cxn ang="0">
                                    <a:pos x="109" y="109"/>
                                  </a:cxn>
                                  <a:cxn ang="0">
                                    <a:pos x="109" y="115"/>
                                  </a:cxn>
                                  <a:cxn ang="0">
                                    <a:pos x="108" y="117"/>
                                  </a:cxn>
                                  <a:cxn ang="0">
                                    <a:pos x="106" y="119"/>
                                  </a:cxn>
                                  <a:cxn ang="0">
                                    <a:pos x="102" y="120"/>
                                  </a:cxn>
                                  <a:cxn ang="0">
                                    <a:pos x="101" y="119"/>
                                  </a:cxn>
                                  <a:cxn ang="0">
                                    <a:pos x="98" y="121"/>
                                  </a:cxn>
                                  <a:cxn ang="0">
                                    <a:pos x="94" y="125"/>
                                  </a:cxn>
                                  <a:cxn ang="0">
                                    <a:pos x="93" y="128"/>
                                  </a:cxn>
                                  <a:cxn ang="0">
                                    <a:pos x="88" y="130"/>
                                  </a:cxn>
                                  <a:cxn ang="0">
                                    <a:pos x="85" y="132"/>
                                  </a:cxn>
                                  <a:cxn ang="0">
                                    <a:pos x="83" y="134"/>
                                  </a:cxn>
                                  <a:cxn ang="0">
                                    <a:pos x="78" y="136"/>
                                  </a:cxn>
                                  <a:cxn ang="0">
                                    <a:pos x="72" y="140"/>
                                  </a:cxn>
                                  <a:cxn ang="0">
                                    <a:pos x="70" y="144"/>
                                  </a:cxn>
                                  <a:cxn ang="0">
                                    <a:pos x="66" y="148"/>
                                  </a:cxn>
                                  <a:cxn ang="0">
                                    <a:pos x="63" y="151"/>
                                  </a:cxn>
                                  <a:cxn ang="0">
                                    <a:pos x="59" y="158"/>
                                  </a:cxn>
                                  <a:cxn ang="0">
                                    <a:pos x="54" y="165"/>
                                  </a:cxn>
                                  <a:cxn ang="0">
                                    <a:pos x="51" y="162"/>
                                  </a:cxn>
                                  <a:cxn ang="0">
                                    <a:pos x="49" y="160"/>
                                  </a:cxn>
                                  <a:cxn ang="0">
                                    <a:pos x="50" y="157"/>
                                  </a:cxn>
                                  <a:cxn ang="0">
                                    <a:pos x="47" y="152"/>
                                  </a:cxn>
                                  <a:cxn ang="0">
                                    <a:pos x="43" y="148"/>
                                  </a:cxn>
                                  <a:cxn ang="0">
                                    <a:pos x="40" y="147"/>
                                  </a:cxn>
                                  <a:cxn ang="0">
                                    <a:pos x="37" y="148"/>
                                  </a:cxn>
                                  <a:cxn ang="0">
                                    <a:pos x="24" y="149"/>
                                  </a:cxn>
                                  <a:cxn ang="0">
                                    <a:pos x="17" y="146"/>
                                  </a:cxn>
                                  <a:cxn ang="0">
                                    <a:pos x="15" y="139"/>
                                  </a:cxn>
                                  <a:cxn ang="0">
                                    <a:pos x="13" y="135"/>
                                  </a:cxn>
                                  <a:cxn ang="0">
                                    <a:pos x="11" y="129"/>
                                  </a:cxn>
                                  <a:cxn ang="0">
                                    <a:pos x="9" y="123"/>
                                  </a:cxn>
                                  <a:cxn ang="0">
                                    <a:pos x="3" y="122"/>
                                  </a:cxn>
                                  <a:cxn ang="0">
                                    <a:pos x="1" y="118"/>
                                  </a:cxn>
                                  <a:cxn ang="0">
                                    <a:pos x="0" y="110"/>
                                  </a:cxn>
                                  <a:cxn ang="0">
                                    <a:pos x="1" y="109"/>
                                  </a:cxn>
                                  <a:cxn ang="0">
                                    <a:pos x="11" y="103"/>
                                  </a:cxn>
                                  <a:cxn ang="0">
                                    <a:pos x="36" y="87"/>
                                  </a:cxn>
                                  <a:cxn ang="0">
                                    <a:pos x="35" y="82"/>
                                  </a:cxn>
                                  <a:cxn ang="0">
                                    <a:pos x="36" y="77"/>
                                  </a:cxn>
                                  <a:cxn ang="0">
                                    <a:pos x="40" y="68"/>
                                  </a:cxn>
                                  <a:cxn ang="0">
                                    <a:pos x="39" y="57"/>
                                  </a:cxn>
                                  <a:cxn ang="0">
                                    <a:pos x="32" y="52"/>
                                  </a:cxn>
                                  <a:cxn ang="0">
                                    <a:pos x="31" y="31"/>
                                  </a:cxn>
                                  <a:cxn ang="0">
                                    <a:pos x="27" y="25"/>
                                  </a:cxn>
                                  <a:cxn ang="0">
                                    <a:pos x="25" y="20"/>
                                  </a:cxn>
                                  <a:cxn ang="0">
                                    <a:pos x="28" y="8"/>
                                  </a:cxn>
                                  <a:cxn ang="0">
                                    <a:pos x="34" y="1"/>
                                  </a:cxn>
                                  <a:cxn ang="0">
                                    <a:pos x="60" y="1"/>
                                  </a:cxn>
                                  <a:cxn ang="0">
                                    <a:pos x="70" y="2"/>
                                  </a:cxn>
                                </a:cxnLst>
                                <a:rect l="0" t="0" r="r" b="b"/>
                                <a:pathLst>
                                  <a:path w="110" h="165">
                                    <a:moveTo>
                                      <a:pt x="71" y="4"/>
                                    </a:moveTo>
                                    <a:lnTo>
                                      <a:pt x="72" y="6"/>
                                    </a:lnTo>
                                    <a:lnTo>
                                      <a:pt x="73" y="7"/>
                                    </a:lnTo>
                                    <a:lnTo>
                                      <a:pt x="74" y="9"/>
                                    </a:lnTo>
                                    <a:lnTo>
                                      <a:pt x="75" y="11"/>
                                    </a:lnTo>
                                    <a:lnTo>
                                      <a:pt x="76" y="13"/>
                                    </a:lnTo>
                                    <a:lnTo>
                                      <a:pt x="77" y="15"/>
                                    </a:lnTo>
                                    <a:lnTo>
                                      <a:pt x="77" y="17"/>
                                    </a:lnTo>
                                    <a:lnTo>
                                      <a:pt x="78" y="19"/>
                                    </a:lnTo>
                                    <a:lnTo>
                                      <a:pt x="79" y="21"/>
                                    </a:lnTo>
                                    <a:lnTo>
                                      <a:pt x="80" y="23"/>
                                    </a:lnTo>
                                    <a:lnTo>
                                      <a:pt x="82" y="28"/>
                                    </a:lnTo>
                                    <a:lnTo>
                                      <a:pt x="82" y="30"/>
                                    </a:lnTo>
                                    <a:lnTo>
                                      <a:pt x="83" y="33"/>
                                    </a:lnTo>
                                    <a:lnTo>
                                      <a:pt x="84" y="35"/>
                                    </a:lnTo>
                                    <a:lnTo>
                                      <a:pt x="84" y="37"/>
                                    </a:lnTo>
                                    <a:lnTo>
                                      <a:pt x="85" y="40"/>
                                    </a:lnTo>
                                    <a:lnTo>
                                      <a:pt x="85" y="42"/>
                                    </a:lnTo>
                                    <a:lnTo>
                                      <a:pt x="86" y="45"/>
                                    </a:lnTo>
                                    <a:lnTo>
                                      <a:pt x="86" y="47"/>
                                    </a:lnTo>
                                    <a:lnTo>
                                      <a:pt x="86" y="49"/>
                                    </a:lnTo>
                                    <a:lnTo>
                                      <a:pt x="86" y="52"/>
                                    </a:lnTo>
                                    <a:lnTo>
                                      <a:pt x="86" y="54"/>
                                    </a:lnTo>
                                    <a:lnTo>
                                      <a:pt x="86" y="57"/>
                                    </a:lnTo>
                                    <a:lnTo>
                                      <a:pt x="86" y="59"/>
                                    </a:lnTo>
                                    <a:lnTo>
                                      <a:pt x="86" y="62"/>
                                    </a:lnTo>
                                    <a:lnTo>
                                      <a:pt x="85" y="64"/>
                                    </a:lnTo>
                                    <a:lnTo>
                                      <a:pt x="85" y="66"/>
                                    </a:lnTo>
                                    <a:lnTo>
                                      <a:pt x="84" y="69"/>
                                    </a:lnTo>
                                    <a:lnTo>
                                      <a:pt x="83" y="71"/>
                                    </a:lnTo>
                                    <a:lnTo>
                                      <a:pt x="83" y="73"/>
                                    </a:lnTo>
                                    <a:lnTo>
                                      <a:pt x="81" y="75"/>
                                    </a:lnTo>
                                    <a:lnTo>
                                      <a:pt x="82" y="76"/>
                                    </a:lnTo>
                                    <a:lnTo>
                                      <a:pt x="83" y="77"/>
                                    </a:lnTo>
                                    <a:lnTo>
                                      <a:pt x="84" y="78"/>
                                    </a:lnTo>
                                    <a:lnTo>
                                      <a:pt x="85" y="79"/>
                                    </a:lnTo>
                                    <a:lnTo>
                                      <a:pt x="86" y="80"/>
                                    </a:lnTo>
                                    <a:lnTo>
                                      <a:pt x="88" y="82"/>
                                    </a:lnTo>
                                    <a:lnTo>
                                      <a:pt x="90" y="83"/>
                                    </a:lnTo>
                                    <a:lnTo>
                                      <a:pt x="91" y="84"/>
                                    </a:lnTo>
                                    <a:lnTo>
                                      <a:pt x="92" y="85"/>
                                    </a:lnTo>
                                    <a:lnTo>
                                      <a:pt x="93" y="86"/>
                                    </a:lnTo>
                                    <a:lnTo>
                                      <a:pt x="94" y="87"/>
                                    </a:lnTo>
                                    <a:lnTo>
                                      <a:pt x="94" y="88"/>
                                    </a:lnTo>
                                    <a:lnTo>
                                      <a:pt x="95" y="89"/>
                                    </a:lnTo>
                                    <a:lnTo>
                                      <a:pt x="95" y="90"/>
                                    </a:lnTo>
                                    <a:lnTo>
                                      <a:pt x="96" y="92"/>
                                    </a:lnTo>
                                    <a:lnTo>
                                      <a:pt x="97" y="94"/>
                                    </a:lnTo>
                                    <a:lnTo>
                                      <a:pt x="97" y="95"/>
                                    </a:lnTo>
                                    <a:lnTo>
                                      <a:pt x="98" y="97"/>
                                    </a:lnTo>
                                    <a:lnTo>
                                      <a:pt x="99" y="99"/>
                                    </a:lnTo>
                                    <a:lnTo>
                                      <a:pt x="99" y="100"/>
                                    </a:lnTo>
                                    <a:lnTo>
                                      <a:pt x="100" y="102"/>
                                    </a:lnTo>
                                    <a:lnTo>
                                      <a:pt x="100" y="103"/>
                                    </a:lnTo>
                                    <a:lnTo>
                                      <a:pt x="101" y="103"/>
                                    </a:lnTo>
                                    <a:lnTo>
                                      <a:pt x="102" y="104"/>
                                    </a:lnTo>
                                    <a:lnTo>
                                      <a:pt x="103" y="104"/>
                                    </a:lnTo>
                                    <a:lnTo>
                                      <a:pt x="104" y="105"/>
                                    </a:lnTo>
                                    <a:lnTo>
                                      <a:pt x="106" y="106"/>
                                    </a:lnTo>
                                    <a:lnTo>
                                      <a:pt x="107" y="106"/>
                                    </a:lnTo>
                                    <a:lnTo>
                                      <a:pt x="107" y="107"/>
                                    </a:lnTo>
                                    <a:lnTo>
                                      <a:pt x="108" y="107"/>
                                    </a:lnTo>
                                    <a:lnTo>
                                      <a:pt x="108" y="108"/>
                                    </a:lnTo>
                                    <a:lnTo>
                                      <a:pt x="109" y="109"/>
                                    </a:lnTo>
                                    <a:lnTo>
                                      <a:pt x="109" y="110"/>
                                    </a:lnTo>
                                    <a:lnTo>
                                      <a:pt x="110" y="111"/>
                                    </a:lnTo>
                                    <a:lnTo>
                                      <a:pt x="110" y="112"/>
                                    </a:lnTo>
                                    <a:lnTo>
                                      <a:pt x="110" y="113"/>
                                    </a:lnTo>
                                    <a:lnTo>
                                      <a:pt x="110" y="114"/>
                                    </a:lnTo>
                                    <a:lnTo>
                                      <a:pt x="110" y="114"/>
                                    </a:lnTo>
                                    <a:lnTo>
                                      <a:pt x="110" y="115"/>
                                    </a:lnTo>
                                    <a:lnTo>
                                      <a:pt x="109" y="115"/>
                                    </a:lnTo>
                                    <a:lnTo>
                                      <a:pt x="109" y="115"/>
                                    </a:lnTo>
                                    <a:lnTo>
                                      <a:pt x="108" y="115"/>
                                    </a:lnTo>
                                    <a:lnTo>
                                      <a:pt x="108" y="116"/>
                                    </a:lnTo>
                                    <a:lnTo>
                                      <a:pt x="108" y="116"/>
                                    </a:lnTo>
                                    <a:lnTo>
                                      <a:pt x="108" y="116"/>
                                    </a:lnTo>
                                    <a:lnTo>
                                      <a:pt x="108" y="117"/>
                                    </a:lnTo>
                                    <a:lnTo>
                                      <a:pt x="108" y="117"/>
                                    </a:lnTo>
                                    <a:lnTo>
                                      <a:pt x="108" y="117"/>
                                    </a:lnTo>
                                    <a:lnTo>
                                      <a:pt x="107" y="117"/>
                                    </a:lnTo>
                                    <a:lnTo>
                                      <a:pt x="107" y="117"/>
                                    </a:lnTo>
                                    <a:lnTo>
                                      <a:pt x="107" y="117"/>
                                    </a:lnTo>
                                    <a:lnTo>
                                      <a:pt x="106" y="117"/>
                                    </a:lnTo>
                                    <a:lnTo>
                                      <a:pt x="106" y="118"/>
                                    </a:lnTo>
                                    <a:lnTo>
                                      <a:pt x="106" y="118"/>
                                    </a:lnTo>
                                    <a:lnTo>
                                      <a:pt x="106" y="119"/>
                                    </a:lnTo>
                                    <a:lnTo>
                                      <a:pt x="106" y="119"/>
                                    </a:lnTo>
                                    <a:lnTo>
                                      <a:pt x="105" y="119"/>
                                    </a:lnTo>
                                    <a:lnTo>
                                      <a:pt x="105" y="119"/>
                                    </a:lnTo>
                                    <a:lnTo>
                                      <a:pt x="105" y="119"/>
                                    </a:lnTo>
                                    <a:lnTo>
                                      <a:pt x="104" y="120"/>
                                    </a:lnTo>
                                    <a:lnTo>
                                      <a:pt x="104" y="120"/>
                                    </a:lnTo>
                                    <a:lnTo>
                                      <a:pt x="103" y="120"/>
                                    </a:lnTo>
                                    <a:lnTo>
                                      <a:pt x="103" y="120"/>
                                    </a:lnTo>
                                    <a:lnTo>
                                      <a:pt x="102" y="120"/>
                                    </a:lnTo>
                                    <a:lnTo>
                                      <a:pt x="102" y="120"/>
                                    </a:lnTo>
                                    <a:lnTo>
                                      <a:pt x="101" y="120"/>
                                    </a:lnTo>
                                    <a:lnTo>
                                      <a:pt x="101" y="120"/>
                                    </a:lnTo>
                                    <a:lnTo>
                                      <a:pt x="101" y="120"/>
                                    </a:lnTo>
                                    <a:lnTo>
                                      <a:pt x="101" y="119"/>
                                    </a:lnTo>
                                    <a:lnTo>
                                      <a:pt x="101" y="119"/>
                                    </a:lnTo>
                                    <a:lnTo>
                                      <a:pt x="101" y="119"/>
                                    </a:lnTo>
                                    <a:lnTo>
                                      <a:pt x="101" y="119"/>
                                    </a:lnTo>
                                    <a:lnTo>
                                      <a:pt x="100" y="119"/>
                                    </a:lnTo>
                                    <a:lnTo>
                                      <a:pt x="100" y="119"/>
                                    </a:lnTo>
                                    <a:lnTo>
                                      <a:pt x="100" y="119"/>
                                    </a:lnTo>
                                    <a:lnTo>
                                      <a:pt x="100" y="120"/>
                                    </a:lnTo>
                                    <a:lnTo>
                                      <a:pt x="100" y="120"/>
                                    </a:lnTo>
                                    <a:lnTo>
                                      <a:pt x="100" y="120"/>
                                    </a:lnTo>
                                    <a:lnTo>
                                      <a:pt x="99" y="121"/>
                                    </a:lnTo>
                                    <a:lnTo>
                                      <a:pt x="98" y="121"/>
                                    </a:lnTo>
                                    <a:lnTo>
                                      <a:pt x="97" y="122"/>
                                    </a:lnTo>
                                    <a:lnTo>
                                      <a:pt x="97" y="122"/>
                                    </a:lnTo>
                                    <a:lnTo>
                                      <a:pt x="96" y="123"/>
                                    </a:lnTo>
                                    <a:lnTo>
                                      <a:pt x="96" y="124"/>
                                    </a:lnTo>
                                    <a:lnTo>
                                      <a:pt x="95" y="124"/>
                                    </a:lnTo>
                                    <a:lnTo>
                                      <a:pt x="95" y="125"/>
                                    </a:lnTo>
                                    <a:lnTo>
                                      <a:pt x="94" y="125"/>
                                    </a:lnTo>
                                    <a:lnTo>
                                      <a:pt x="94" y="125"/>
                                    </a:lnTo>
                                    <a:lnTo>
                                      <a:pt x="94" y="125"/>
                                    </a:lnTo>
                                    <a:lnTo>
                                      <a:pt x="93" y="126"/>
                                    </a:lnTo>
                                    <a:lnTo>
                                      <a:pt x="93" y="126"/>
                                    </a:lnTo>
                                    <a:lnTo>
                                      <a:pt x="93" y="126"/>
                                    </a:lnTo>
                                    <a:lnTo>
                                      <a:pt x="93" y="127"/>
                                    </a:lnTo>
                                    <a:lnTo>
                                      <a:pt x="93" y="127"/>
                                    </a:lnTo>
                                    <a:lnTo>
                                      <a:pt x="93" y="128"/>
                                    </a:lnTo>
                                    <a:lnTo>
                                      <a:pt x="93" y="128"/>
                                    </a:lnTo>
                                    <a:lnTo>
                                      <a:pt x="92" y="128"/>
                                    </a:lnTo>
                                    <a:lnTo>
                                      <a:pt x="92" y="129"/>
                                    </a:lnTo>
                                    <a:lnTo>
                                      <a:pt x="91" y="130"/>
                                    </a:lnTo>
                                    <a:lnTo>
                                      <a:pt x="90" y="130"/>
                                    </a:lnTo>
                                    <a:lnTo>
                                      <a:pt x="89" y="130"/>
                                    </a:lnTo>
                                    <a:lnTo>
                                      <a:pt x="89" y="130"/>
                                    </a:lnTo>
                                    <a:lnTo>
                                      <a:pt x="88" y="130"/>
                                    </a:lnTo>
                                    <a:lnTo>
                                      <a:pt x="88" y="130"/>
                                    </a:lnTo>
                                    <a:lnTo>
                                      <a:pt x="88" y="131"/>
                                    </a:lnTo>
                                    <a:lnTo>
                                      <a:pt x="88" y="131"/>
                                    </a:lnTo>
                                    <a:lnTo>
                                      <a:pt x="88" y="131"/>
                                    </a:lnTo>
                                    <a:lnTo>
                                      <a:pt x="88" y="132"/>
                                    </a:lnTo>
                                    <a:lnTo>
                                      <a:pt x="87" y="132"/>
                                    </a:lnTo>
                                    <a:lnTo>
                                      <a:pt x="86" y="132"/>
                                    </a:lnTo>
                                    <a:lnTo>
                                      <a:pt x="86" y="132"/>
                                    </a:lnTo>
                                    <a:lnTo>
                                      <a:pt x="85" y="132"/>
                                    </a:lnTo>
                                    <a:lnTo>
                                      <a:pt x="84" y="132"/>
                                    </a:lnTo>
                                    <a:lnTo>
                                      <a:pt x="84" y="132"/>
                                    </a:lnTo>
                                    <a:lnTo>
                                      <a:pt x="84" y="132"/>
                                    </a:lnTo>
                                    <a:lnTo>
                                      <a:pt x="83" y="132"/>
                                    </a:lnTo>
                                    <a:lnTo>
                                      <a:pt x="83" y="132"/>
                                    </a:lnTo>
                                    <a:lnTo>
                                      <a:pt x="83" y="133"/>
                                    </a:lnTo>
                                    <a:lnTo>
                                      <a:pt x="83" y="133"/>
                                    </a:lnTo>
                                    <a:lnTo>
                                      <a:pt x="83" y="134"/>
                                    </a:lnTo>
                                    <a:lnTo>
                                      <a:pt x="82" y="134"/>
                                    </a:lnTo>
                                    <a:lnTo>
                                      <a:pt x="81" y="134"/>
                                    </a:lnTo>
                                    <a:lnTo>
                                      <a:pt x="80" y="134"/>
                                    </a:lnTo>
                                    <a:lnTo>
                                      <a:pt x="80" y="134"/>
                                    </a:lnTo>
                                    <a:lnTo>
                                      <a:pt x="79" y="135"/>
                                    </a:lnTo>
                                    <a:lnTo>
                                      <a:pt x="78" y="135"/>
                                    </a:lnTo>
                                    <a:lnTo>
                                      <a:pt x="78" y="136"/>
                                    </a:lnTo>
                                    <a:lnTo>
                                      <a:pt x="78" y="136"/>
                                    </a:lnTo>
                                    <a:lnTo>
                                      <a:pt x="77" y="138"/>
                                    </a:lnTo>
                                    <a:lnTo>
                                      <a:pt x="76" y="138"/>
                                    </a:lnTo>
                                    <a:lnTo>
                                      <a:pt x="76" y="139"/>
                                    </a:lnTo>
                                    <a:lnTo>
                                      <a:pt x="75" y="139"/>
                                    </a:lnTo>
                                    <a:lnTo>
                                      <a:pt x="75" y="140"/>
                                    </a:lnTo>
                                    <a:lnTo>
                                      <a:pt x="74" y="140"/>
                                    </a:lnTo>
                                    <a:lnTo>
                                      <a:pt x="73" y="140"/>
                                    </a:lnTo>
                                    <a:lnTo>
                                      <a:pt x="72" y="140"/>
                                    </a:lnTo>
                                    <a:lnTo>
                                      <a:pt x="72" y="141"/>
                                    </a:lnTo>
                                    <a:lnTo>
                                      <a:pt x="71" y="141"/>
                                    </a:lnTo>
                                    <a:lnTo>
                                      <a:pt x="71" y="141"/>
                                    </a:lnTo>
                                    <a:lnTo>
                                      <a:pt x="71" y="142"/>
                                    </a:lnTo>
                                    <a:lnTo>
                                      <a:pt x="70" y="142"/>
                                    </a:lnTo>
                                    <a:lnTo>
                                      <a:pt x="70" y="143"/>
                                    </a:lnTo>
                                    <a:lnTo>
                                      <a:pt x="70" y="144"/>
                                    </a:lnTo>
                                    <a:lnTo>
                                      <a:pt x="70" y="144"/>
                                    </a:lnTo>
                                    <a:lnTo>
                                      <a:pt x="69" y="145"/>
                                    </a:lnTo>
                                    <a:lnTo>
                                      <a:pt x="69" y="145"/>
                                    </a:lnTo>
                                    <a:lnTo>
                                      <a:pt x="69" y="146"/>
                                    </a:lnTo>
                                    <a:lnTo>
                                      <a:pt x="68" y="146"/>
                                    </a:lnTo>
                                    <a:lnTo>
                                      <a:pt x="67" y="147"/>
                                    </a:lnTo>
                                    <a:lnTo>
                                      <a:pt x="67" y="147"/>
                                    </a:lnTo>
                                    <a:lnTo>
                                      <a:pt x="67" y="148"/>
                                    </a:lnTo>
                                    <a:lnTo>
                                      <a:pt x="66" y="148"/>
                                    </a:lnTo>
                                    <a:lnTo>
                                      <a:pt x="66" y="149"/>
                                    </a:lnTo>
                                    <a:lnTo>
                                      <a:pt x="66" y="149"/>
                                    </a:lnTo>
                                    <a:lnTo>
                                      <a:pt x="65" y="149"/>
                                    </a:lnTo>
                                    <a:lnTo>
                                      <a:pt x="65" y="149"/>
                                    </a:lnTo>
                                    <a:lnTo>
                                      <a:pt x="64" y="150"/>
                                    </a:lnTo>
                                    <a:lnTo>
                                      <a:pt x="64" y="150"/>
                                    </a:lnTo>
                                    <a:lnTo>
                                      <a:pt x="64" y="151"/>
                                    </a:lnTo>
                                    <a:lnTo>
                                      <a:pt x="63" y="151"/>
                                    </a:lnTo>
                                    <a:lnTo>
                                      <a:pt x="63" y="152"/>
                                    </a:lnTo>
                                    <a:lnTo>
                                      <a:pt x="62" y="152"/>
                                    </a:lnTo>
                                    <a:lnTo>
                                      <a:pt x="62" y="153"/>
                                    </a:lnTo>
                                    <a:lnTo>
                                      <a:pt x="61" y="154"/>
                                    </a:lnTo>
                                    <a:lnTo>
                                      <a:pt x="61" y="154"/>
                                    </a:lnTo>
                                    <a:lnTo>
                                      <a:pt x="60" y="155"/>
                                    </a:lnTo>
                                    <a:lnTo>
                                      <a:pt x="60" y="156"/>
                                    </a:lnTo>
                                    <a:lnTo>
                                      <a:pt x="59" y="158"/>
                                    </a:lnTo>
                                    <a:lnTo>
                                      <a:pt x="58" y="160"/>
                                    </a:lnTo>
                                    <a:lnTo>
                                      <a:pt x="58" y="162"/>
                                    </a:lnTo>
                                    <a:lnTo>
                                      <a:pt x="57" y="163"/>
                                    </a:lnTo>
                                    <a:lnTo>
                                      <a:pt x="56" y="165"/>
                                    </a:lnTo>
                                    <a:lnTo>
                                      <a:pt x="56" y="165"/>
                                    </a:lnTo>
                                    <a:lnTo>
                                      <a:pt x="55" y="165"/>
                                    </a:lnTo>
                                    <a:lnTo>
                                      <a:pt x="54" y="165"/>
                                    </a:lnTo>
                                    <a:lnTo>
                                      <a:pt x="54" y="165"/>
                                    </a:lnTo>
                                    <a:lnTo>
                                      <a:pt x="53" y="165"/>
                                    </a:lnTo>
                                    <a:lnTo>
                                      <a:pt x="53" y="165"/>
                                    </a:lnTo>
                                    <a:lnTo>
                                      <a:pt x="53" y="164"/>
                                    </a:lnTo>
                                    <a:lnTo>
                                      <a:pt x="53" y="164"/>
                                    </a:lnTo>
                                    <a:lnTo>
                                      <a:pt x="52" y="163"/>
                                    </a:lnTo>
                                    <a:lnTo>
                                      <a:pt x="52" y="163"/>
                                    </a:lnTo>
                                    <a:lnTo>
                                      <a:pt x="52" y="163"/>
                                    </a:lnTo>
                                    <a:lnTo>
                                      <a:pt x="51" y="162"/>
                                    </a:lnTo>
                                    <a:lnTo>
                                      <a:pt x="51" y="162"/>
                                    </a:lnTo>
                                    <a:lnTo>
                                      <a:pt x="50" y="162"/>
                                    </a:lnTo>
                                    <a:lnTo>
                                      <a:pt x="50" y="162"/>
                                    </a:lnTo>
                                    <a:lnTo>
                                      <a:pt x="50" y="161"/>
                                    </a:lnTo>
                                    <a:lnTo>
                                      <a:pt x="50" y="161"/>
                                    </a:lnTo>
                                    <a:lnTo>
                                      <a:pt x="50" y="161"/>
                                    </a:lnTo>
                                    <a:lnTo>
                                      <a:pt x="49" y="160"/>
                                    </a:lnTo>
                                    <a:lnTo>
                                      <a:pt x="49" y="160"/>
                                    </a:lnTo>
                                    <a:lnTo>
                                      <a:pt x="49" y="160"/>
                                    </a:lnTo>
                                    <a:lnTo>
                                      <a:pt x="48" y="160"/>
                                    </a:lnTo>
                                    <a:lnTo>
                                      <a:pt x="48" y="160"/>
                                    </a:lnTo>
                                    <a:lnTo>
                                      <a:pt x="49" y="159"/>
                                    </a:lnTo>
                                    <a:lnTo>
                                      <a:pt x="49" y="159"/>
                                    </a:lnTo>
                                    <a:lnTo>
                                      <a:pt x="49" y="158"/>
                                    </a:lnTo>
                                    <a:lnTo>
                                      <a:pt x="49" y="158"/>
                                    </a:lnTo>
                                    <a:lnTo>
                                      <a:pt x="50" y="157"/>
                                    </a:lnTo>
                                    <a:lnTo>
                                      <a:pt x="50" y="157"/>
                                    </a:lnTo>
                                    <a:lnTo>
                                      <a:pt x="50" y="157"/>
                                    </a:lnTo>
                                    <a:lnTo>
                                      <a:pt x="50" y="156"/>
                                    </a:lnTo>
                                    <a:lnTo>
                                      <a:pt x="49" y="155"/>
                                    </a:lnTo>
                                    <a:lnTo>
                                      <a:pt x="49" y="154"/>
                                    </a:lnTo>
                                    <a:lnTo>
                                      <a:pt x="49" y="153"/>
                                    </a:lnTo>
                                    <a:lnTo>
                                      <a:pt x="48" y="152"/>
                                    </a:lnTo>
                                    <a:lnTo>
                                      <a:pt x="47" y="152"/>
                                    </a:lnTo>
                                    <a:lnTo>
                                      <a:pt x="47" y="151"/>
                                    </a:lnTo>
                                    <a:lnTo>
                                      <a:pt x="46" y="150"/>
                                    </a:lnTo>
                                    <a:lnTo>
                                      <a:pt x="45" y="150"/>
                                    </a:lnTo>
                                    <a:lnTo>
                                      <a:pt x="44" y="149"/>
                                    </a:lnTo>
                                    <a:lnTo>
                                      <a:pt x="44" y="149"/>
                                    </a:lnTo>
                                    <a:lnTo>
                                      <a:pt x="43" y="149"/>
                                    </a:lnTo>
                                    <a:lnTo>
                                      <a:pt x="43" y="148"/>
                                    </a:lnTo>
                                    <a:lnTo>
                                      <a:pt x="43" y="148"/>
                                    </a:lnTo>
                                    <a:lnTo>
                                      <a:pt x="43" y="147"/>
                                    </a:lnTo>
                                    <a:lnTo>
                                      <a:pt x="43" y="147"/>
                                    </a:lnTo>
                                    <a:lnTo>
                                      <a:pt x="42" y="147"/>
                                    </a:lnTo>
                                    <a:lnTo>
                                      <a:pt x="42" y="147"/>
                                    </a:lnTo>
                                    <a:lnTo>
                                      <a:pt x="41" y="147"/>
                                    </a:lnTo>
                                    <a:lnTo>
                                      <a:pt x="41" y="147"/>
                                    </a:lnTo>
                                    <a:lnTo>
                                      <a:pt x="41" y="147"/>
                                    </a:lnTo>
                                    <a:lnTo>
                                      <a:pt x="40" y="147"/>
                                    </a:lnTo>
                                    <a:lnTo>
                                      <a:pt x="40" y="147"/>
                                    </a:lnTo>
                                    <a:lnTo>
                                      <a:pt x="39" y="147"/>
                                    </a:lnTo>
                                    <a:lnTo>
                                      <a:pt x="38" y="147"/>
                                    </a:lnTo>
                                    <a:lnTo>
                                      <a:pt x="38" y="147"/>
                                    </a:lnTo>
                                    <a:lnTo>
                                      <a:pt x="37" y="147"/>
                                    </a:lnTo>
                                    <a:lnTo>
                                      <a:pt x="37" y="147"/>
                                    </a:lnTo>
                                    <a:lnTo>
                                      <a:pt x="37" y="148"/>
                                    </a:lnTo>
                                    <a:lnTo>
                                      <a:pt x="37" y="148"/>
                                    </a:lnTo>
                                    <a:lnTo>
                                      <a:pt x="36" y="149"/>
                                    </a:lnTo>
                                    <a:lnTo>
                                      <a:pt x="35" y="148"/>
                                    </a:lnTo>
                                    <a:lnTo>
                                      <a:pt x="34" y="148"/>
                                    </a:lnTo>
                                    <a:lnTo>
                                      <a:pt x="32" y="148"/>
                                    </a:lnTo>
                                    <a:lnTo>
                                      <a:pt x="31" y="148"/>
                                    </a:lnTo>
                                    <a:lnTo>
                                      <a:pt x="28" y="149"/>
                                    </a:lnTo>
                                    <a:lnTo>
                                      <a:pt x="25" y="149"/>
                                    </a:lnTo>
                                    <a:lnTo>
                                      <a:pt x="24" y="149"/>
                                    </a:lnTo>
                                    <a:lnTo>
                                      <a:pt x="22" y="149"/>
                                    </a:lnTo>
                                    <a:lnTo>
                                      <a:pt x="21" y="149"/>
                                    </a:lnTo>
                                    <a:lnTo>
                                      <a:pt x="20" y="149"/>
                                    </a:lnTo>
                                    <a:lnTo>
                                      <a:pt x="19" y="148"/>
                                    </a:lnTo>
                                    <a:lnTo>
                                      <a:pt x="18" y="148"/>
                                    </a:lnTo>
                                    <a:lnTo>
                                      <a:pt x="17" y="148"/>
                                    </a:lnTo>
                                    <a:lnTo>
                                      <a:pt x="16" y="147"/>
                                    </a:lnTo>
                                    <a:lnTo>
                                      <a:pt x="17" y="146"/>
                                    </a:lnTo>
                                    <a:lnTo>
                                      <a:pt x="17" y="146"/>
                                    </a:lnTo>
                                    <a:lnTo>
                                      <a:pt x="16" y="145"/>
                                    </a:lnTo>
                                    <a:lnTo>
                                      <a:pt x="16" y="145"/>
                                    </a:lnTo>
                                    <a:lnTo>
                                      <a:pt x="16" y="144"/>
                                    </a:lnTo>
                                    <a:lnTo>
                                      <a:pt x="16" y="144"/>
                                    </a:lnTo>
                                    <a:lnTo>
                                      <a:pt x="15" y="144"/>
                                    </a:lnTo>
                                    <a:lnTo>
                                      <a:pt x="15" y="144"/>
                                    </a:lnTo>
                                    <a:lnTo>
                                      <a:pt x="15" y="139"/>
                                    </a:lnTo>
                                    <a:lnTo>
                                      <a:pt x="15" y="138"/>
                                    </a:lnTo>
                                    <a:lnTo>
                                      <a:pt x="15" y="137"/>
                                    </a:lnTo>
                                    <a:lnTo>
                                      <a:pt x="15" y="137"/>
                                    </a:lnTo>
                                    <a:lnTo>
                                      <a:pt x="15" y="136"/>
                                    </a:lnTo>
                                    <a:lnTo>
                                      <a:pt x="14" y="136"/>
                                    </a:lnTo>
                                    <a:lnTo>
                                      <a:pt x="14" y="136"/>
                                    </a:lnTo>
                                    <a:lnTo>
                                      <a:pt x="13" y="135"/>
                                    </a:lnTo>
                                    <a:lnTo>
                                      <a:pt x="13" y="135"/>
                                    </a:lnTo>
                                    <a:lnTo>
                                      <a:pt x="13" y="130"/>
                                    </a:lnTo>
                                    <a:lnTo>
                                      <a:pt x="13" y="130"/>
                                    </a:lnTo>
                                    <a:lnTo>
                                      <a:pt x="13" y="129"/>
                                    </a:lnTo>
                                    <a:lnTo>
                                      <a:pt x="13" y="129"/>
                                    </a:lnTo>
                                    <a:lnTo>
                                      <a:pt x="13" y="129"/>
                                    </a:lnTo>
                                    <a:lnTo>
                                      <a:pt x="12" y="129"/>
                                    </a:lnTo>
                                    <a:lnTo>
                                      <a:pt x="12" y="129"/>
                                    </a:lnTo>
                                    <a:lnTo>
                                      <a:pt x="11" y="129"/>
                                    </a:lnTo>
                                    <a:lnTo>
                                      <a:pt x="11" y="124"/>
                                    </a:lnTo>
                                    <a:lnTo>
                                      <a:pt x="11" y="124"/>
                                    </a:lnTo>
                                    <a:lnTo>
                                      <a:pt x="11" y="124"/>
                                    </a:lnTo>
                                    <a:lnTo>
                                      <a:pt x="10" y="124"/>
                                    </a:lnTo>
                                    <a:lnTo>
                                      <a:pt x="10" y="124"/>
                                    </a:lnTo>
                                    <a:lnTo>
                                      <a:pt x="10" y="123"/>
                                    </a:lnTo>
                                    <a:lnTo>
                                      <a:pt x="9" y="123"/>
                                    </a:lnTo>
                                    <a:lnTo>
                                      <a:pt x="9" y="123"/>
                                    </a:lnTo>
                                    <a:lnTo>
                                      <a:pt x="9" y="123"/>
                                    </a:lnTo>
                                    <a:lnTo>
                                      <a:pt x="9" y="122"/>
                                    </a:lnTo>
                                    <a:lnTo>
                                      <a:pt x="8" y="122"/>
                                    </a:lnTo>
                                    <a:lnTo>
                                      <a:pt x="7" y="122"/>
                                    </a:lnTo>
                                    <a:lnTo>
                                      <a:pt x="6" y="122"/>
                                    </a:lnTo>
                                    <a:lnTo>
                                      <a:pt x="5" y="122"/>
                                    </a:lnTo>
                                    <a:lnTo>
                                      <a:pt x="4" y="122"/>
                                    </a:lnTo>
                                    <a:lnTo>
                                      <a:pt x="3" y="122"/>
                                    </a:lnTo>
                                    <a:lnTo>
                                      <a:pt x="2" y="122"/>
                                    </a:lnTo>
                                    <a:lnTo>
                                      <a:pt x="1" y="122"/>
                                    </a:lnTo>
                                    <a:lnTo>
                                      <a:pt x="1" y="121"/>
                                    </a:lnTo>
                                    <a:lnTo>
                                      <a:pt x="1" y="120"/>
                                    </a:lnTo>
                                    <a:lnTo>
                                      <a:pt x="1" y="119"/>
                                    </a:lnTo>
                                    <a:lnTo>
                                      <a:pt x="1" y="119"/>
                                    </a:lnTo>
                                    <a:lnTo>
                                      <a:pt x="1" y="118"/>
                                    </a:lnTo>
                                    <a:lnTo>
                                      <a:pt x="1" y="118"/>
                                    </a:lnTo>
                                    <a:lnTo>
                                      <a:pt x="1" y="117"/>
                                    </a:lnTo>
                                    <a:lnTo>
                                      <a:pt x="1" y="116"/>
                                    </a:lnTo>
                                    <a:lnTo>
                                      <a:pt x="1" y="116"/>
                                    </a:lnTo>
                                    <a:lnTo>
                                      <a:pt x="1" y="116"/>
                                    </a:lnTo>
                                    <a:lnTo>
                                      <a:pt x="0" y="115"/>
                                    </a:lnTo>
                                    <a:lnTo>
                                      <a:pt x="0" y="115"/>
                                    </a:lnTo>
                                    <a:lnTo>
                                      <a:pt x="0" y="115"/>
                                    </a:lnTo>
                                    <a:lnTo>
                                      <a:pt x="0" y="110"/>
                                    </a:lnTo>
                                    <a:lnTo>
                                      <a:pt x="0" y="110"/>
                                    </a:lnTo>
                                    <a:lnTo>
                                      <a:pt x="0" y="110"/>
                                    </a:lnTo>
                                    <a:lnTo>
                                      <a:pt x="1" y="110"/>
                                    </a:lnTo>
                                    <a:lnTo>
                                      <a:pt x="1" y="110"/>
                                    </a:lnTo>
                                    <a:lnTo>
                                      <a:pt x="1" y="110"/>
                                    </a:lnTo>
                                    <a:lnTo>
                                      <a:pt x="1" y="110"/>
                                    </a:lnTo>
                                    <a:lnTo>
                                      <a:pt x="1" y="109"/>
                                    </a:lnTo>
                                    <a:lnTo>
                                      <a:pt x="1" y="109"/>
                                    </a:lnTo>
                                    <a:lnTo>
                                      <a:pt x="2" y="109"/>
                                    </a:lnTo>
                                    <a:lnTo>
                                      <a:pt x="2" y="109"/>
                                    </a:lnTo>
                                    <a:lnTo>
                                      <a:pt x="3" y="109"/>
                                    </a:lnTo>
                                    <a:lnTo>
                                      <a:pt x="3" y="109"/>
                                    </a:lnTo>
                                    <a:lnTo>
                                      <a:pt x="5" y="107"/>
                                    </a:lnTo>
                                    <a:lnTo>
                                      <a:pt x="7" y="106"/>
                                    </a:lnTo>
                                    <a:lnTo>
                                      <a:pt x="9" y="104"/>
                                    </a:lnTo>
                                    <a:lnTo>
                                      <a:pt x="11" y="103"/>
                                    </a:lnTo>
                                    <a:lnTo>
                                      <a:pt x="15" y="100"/>
                                    </a:lnTo>
                                    <a:lnTo>
                                      <a:pt x="20" y="98"/>
                                    </a:lnTo>
                                    <a:lnTo>
                                      <a:pt x="24" y="95"/>
                                    </a:lnTo>
                                    <a:lnTo>
                                      <a:pt x="28" y="93"/>
                                    </a:lnTo>
                                    <a:lnTo>
                                      <a:pt x="30" y="91"/>
                                    </a:lnTo>
                                    <a:lnTo>
                                      <a:pt x="32" y="90"/>
                                    </a:lnTo>
                                    <a:lnTo>
                                      <a:pt x="34" y="89"/>
                                    </a:lnTo>
                                    <a:lnTo>
                                      <a:pt x="36" y="87"/>
                                    </a:lnTo>
                                    <a:lnTo>
                                      <a:pt x="37" y="86"/>
                                    </a:lnTo>
                                    <a:lnTo>
                                      <a:pt x="37" y="86"/>
                                    </a:lnTo>
                                    <a:lnTo>
                                      <a:pt x="37" y="85"/>
                                    </a:lnTo>
                                    <a:lnTo>
                                      <a:pt x="36" y="85"/>
                                    </a:lnTo>
                                    <a:lnTo>
                                      <a:pt x="36" y="84"/>
                                    </a:lnTo>
                                    <a:lnTo>
                                      <a:pt x="36" y="84"/>
                                    </a:lnTo>
                                    <a:lnTo>
                                      <a:pt x="35" y="83"/>
                                    </a:lnTo>
                                    <a:lnTo>
                                      <a:pt x="35" y="82"/>
                                    </a:lnTo>
                                    <a:lnTo>
                                      <a:pt x="35" y="82"/>
                                    </a:lnTo>
                                    <a:lnTo>
                                      <a:pt x="35" y="81"/>
                                    </a:lnTo>
                                    <a:lnTo>
                                      <a:pt x="34" y="81"/>
                                    </a:lnTo>
                                    <a:lnTo>
                                      <a:pt x="34" y="80"/>
                                    </a:lnTo>
                                    <a:lnTo>
                                      <a:pt x="34" y="80"/>
                                    </a:lnTo>
                                    <a:lnTo>
                                      <a:pt x="35" y="79"/>
                                    </a:lnTo>
                                    <a:lnTo>
                                      <a:pt x="36" y="78"/>
                                    </a:lnTo>
                                    <a:lnTo>
                                      <a:pt x="36" y="77"/>
                                    </a:lnTo>
                                    <a:lnTo>
                                      <a:pt x="37" y="76"/>
                                    </a:lnTo>
                                    <a:lnTo>
                                      <a:pt x="38" y="76"/>
                                    </a:lnTo>
                                    <a:lnTo>
                                      <a:pt x="38" y="75"/>
                                    </a:lnTo>
                                    <a:lnTo>
                                      <a:pt x="39" y="73"/>
                                    </a:lnTo>
                                    <a:lnTo>
                                      <a:pt x="39" y="72"/>
                                    </a:lnTo>
                                    <a:lnTo>
                                      <a:pt x="39" y="71"/>
                                    </a:lnTo>
                                    <a:lnTo>
                                      <a:pt x="40" y="70"/>
                                    </a:lnTo>
                                    <a:lnTo>
                                      <a:pt x="40" y="68"/>
                                    </a:lnTo>
                                    <a:lnTo>
                                      <a:pt x="40" y="67"/>
                                    </a:lnTo>
                                    <a:lnTo>
                                      <a:pt x="40" y="65"/>
                                    </a:lnTo>
                                    <a:lnTo>
                                      <a:pt x="40" y="64"/>
                                    </a:lnTo>
                                    <a:lnTo>
                                      <a:pt x="40" y="62"/>
                                    </a:lnTo>
                                    <a:lnTo>
                                      <a:pt x="40" y="60"/>
                                    </a:lnTo>
                                    <a:lnTo>
                                      <a:pt x="40" y="59"/>
                                    </a:lnTo>
                                    <a:lnTo>
                                      <a:pt x="39" y="58"/>
                                    </a:lnTo>
                                    <a:lnTo>
                                      <a:pt x="39" y="57"/>
                                    </a:lnTo>
                                    <a:lnTo>
                                      <a:pt x="38" y="57"/>
                                    </a:lnTo>
                                    <a:lnTo>
                                      <a:pt x="37" y="56"/>
                                    </a:lnTo>
                                    <a:lnTo>
                                      <a:pt x="36" y="56"/>
                                    </a:lnTo>
                                    <a:lnTo>
                                      <a:pt x="35" y="55"/>
                                    </a:lnTo>
                                    <a:lnTo>
                                      <a:pt x="34" y="54"/>
                                    </a:lnTo>
                                    <a:lnTo>
                                      <a:pt x="33" y="54"/>
                                    </a:lnTo>
                                    <a:lnTo>
                                      <a:pt x="33" y="53"/>
                                    </a:lnTo>
                                    <a:lnTo>
                                      <a:pt x="32" y="52"/>
                                    </a:lnTo>
                                    <a:lnTo>
                                      <a:pt x="32" y="52"/>
                                    </a:lnTo>
                                    <a:lnTo>
                                      <a:pt x="32" y="51"/>
                                    </a:lnTo>
                                    <a:lnTo>
                                      <a:pt x="31" y="50"/>
                                    </a:lnTo>
                                    <a:lnTo>
                                      <a:pt x="31" y="49"/>
                                    </a:lnTo>
                                    <a:lnTo>
                                      <a:pt x="31" y="44"/>
                                    </a:lnTo>
                                    <a:lnTo>
                                      <a:pt x="31" y="40"/>
                                    </a:lnTo>
                                    <a:lnTo>
                                      <a:pt x="31" y="35"/>
                                    </a:lnTo>
                                    <a:lnTo>
                                      <a:pt x="31" y="31"/>
                                    </a:lnTo>
                                    <a:lnTo>
                                      <a:pt x="31" y="30"/>
                                    </a:lnTo>
                                    <a:lnTo>
                                      <a:pt x="31" y="29"/>
                                    </a:lnTo>
                                    <a:lnTo>
                                      <a:pt x="30" y="28"/>
                                    </a:lnTo>
                                    <a:lnTo>
                                      <a:pt x="30" y="28"/>
                                    </a:lnTo>
                                    <a:lnTo>
                                      <a:pt x="29" y="27"/>
                                    </a:lnTo>
                                    <a:lnTo>
                                      <a:pt x="28" y="27"/>
                                    </a:lnTo>
                                    <a:lnTo>
                                      <a:pt x="27" y="26"/>
                                    </a:lnTo>
                                    <a:lnTo>
                                      <a:pt x="27" y="25"/>
                                    </a:lnTo>
                                    <a:lnTo>
                                      <a:pt x="26" y="24"/>
                                    </a:lnTo>
                                    <a:lnTo>
                                      <a:pt x="26" y="24"/>
                                    </a:lnTo>
                                    <a:lnTo>
                                      <a:pt x="25" y="23"/>
                                    </a:lnTo>
                                    <a:lnTo>
                                      <a:pt x="25" y="22"/>
                                    </a:lnTo>
                                    <a:lnTo>
                                      <a:pt x="25" y="21"/>
                                    </a:lnTo>
                                    <a:lnTo>
                                      <a:pt x="24" y="21"/>
                                    </a:lnTo>
                                    <a:lnTo>
                                      <a:pt x="25" y="20"/>
                                    </a:lnTo>
                                    <a:lnTo>
                                      <a:pt x="25" y="20"/>
                                    </a:lnTo>
                                    <a:lnTo>
                                      <a:pt x="25" y="19"/>
                                    </a:lnTo>
                                    <a:lnTo>
                                      <a:pt x="25" y="18"/>
                                    </a:lnTo>
                                    <a:lnTo>
                                      <a:pt x="25" y="17"/>
                                    </a:lnTo>
                                    <a:lnTo>
                                      <a:pt x="26" y="15"/>
                                    </a:lnTo>
                                    <a:lnTo>
                                      <a:pt x="26" y="13"/>
                                    </a:lnTo>
                                    <a:lnTo>
                                      <a:pt x="27" y="11"/>
                                    </a:lnTo>
                                    <a:lnTo>
                                      <a:pt x="27" y="9"/>
                                    </a:lnTo>
                                    <a:lnTo>
                                      <a:pt x="28" y="8"/>
                                    </a:lnTo>
                                    <a:lnTo>
                                      <a:pt x="28" y="7"/>
                                    </a:lnTo>
                                    <a:lnTo>
                                      <a:pt x="28" y="6"/>
                                    </a:lnTo>
                                    <a:lnTo>
                                      <a:pt x="28" y="5"/>
                                    </a:lnTo>
                                    <a:lnTo>
                                      <a:pt x="28" y="4"/>
                                    </a:lnTo>
                                    <a:lnTo>
                                      <a:pt x="28" y="2"/>
                                    </a:lnTo>
                                    <a:lnTo>
                                      <a:pt x="30" y="2"/>
                                    </a:lnTo>
                                    <a:lnTo>
                                      <a:pt x="32" y="1"/>
                                    </a:lnTo>
                                    <a:lnTo>
                                      <a:pt x="34" y="1"/>
                                    </a:lnTo>
                                    <a:lnTo>
                                      <a:pt x="37" y="0"/>
                                    </a:lnTo>
                                    <a:lnTo>
                                      <a:pt x="39" y="0"/>
                                    </a:lnTo>
                                    <a:lnTo>
                                      <a:pt x="42" y="0"/>
                                    </a:lnTo>
                                    <a:lnTo>
                                      <a:pt x="44" y="0"/>
                                    </a:lnTo>
                                    <a:lnTo>
                                      <a:pt x="47" y="0"/>
                                    </a:lnTo>
                                    <a:lnTo>
                                      <a:pt x="52" y="0"/>
                                    </a:lnTo>
                                    <a:lnTo>
                                      <a:pt x="58" y="1"/>
                                    </a:lnTo>
                                    <a:lnTo>
                                      <a:pt x="60" y="1"/>
                                    </a:lnTo>
                                    <a:lnTo>
                                      <a:pt x="63" y="1"/>
                                    </a:lnTo>
                                    <a:lnTo>
                                      <a:pt x="66" y="1"/>
                                    </a:lnTo>
                                    <a:lnTo>
                                      <a:pt x="68" y="0"/>
                                    </a:lnTo>
                                    <a:lnTo>
                                      <a:pt x="69" y="1"/>
                                    </a:lnTo>
                                    <a:lnTo>
                                      <a:pt x="69" y="1"/>
                                    </a:lnTo>
                                    <a:lnTo>
                                      <a:pt x="70" y="1"/>
                                    </a:lnTo>
                                    <a:lnTo>
                                      <a:pt x="70" y="2"/>
                                    </a:lnTo>
                                    <a:lnTo>
                                      <a:pt x="70" y="2"/>
                                    </a:lnTo>
                                    <a:lnTo>
                                      <a:pt x="71" y="3"/>
                                    </a:lnTo>
                                    <a:lnTo>
                                      <a:pt x="71" y="3"/>
                                    </a:lnTo>
                                    <a:lnTo>
                                      <a:pt x="71" y="4"/>
                                    </a:lnTo>
                                  </a:path>
                                </a:pathLst>
                              </a:custGeom>
                              <a:solidFill>
                                <a:schemeClr val="bg1">
                                  <a:lumMod val="95000"/>
                                </a:schemeClr>
                              </a:solidFill>
                              <a:ln w="3175">
                                <a:solidFill>
                                  <a:schemeClr val="accent2">
                                    <a:lumMod val="40000"/>
                                    <a:lumOff val="60000"/>
                                  </a:schemeClr>
                                </a:solidFill>
                              </a:ln>
                            </p:spPr>
                            <p:style>
                              <a:lnRef idx="2">
                                <a:schemeClr val="accent1">
                                  <a:shade val="50000"/>
                                </a:schemeClr>
                              </a:lnRef>
                              <a:fillRef idx="1">
                                <a:schemeClr val="accent1"/>
                              </a:fillRef>
                              <a:effectRef idx="0">
                                <a:schemeClr val="accent1"/>
                              </a:effectRef>
                              <a:fontRef idx="minor">
                                <a:schemeClr val="lt1"/>
                              </a:fontRef>
                            </p:style>
                            <p:txBody>
                              <a:bodyPr lIns="104000" tIns="104000" rIns="104000" bIns="104000" anchor="ctr"/>
                              <a:lstStyle/>
                              <a:p>
                                <a:pPr algn="ctr" defTabSz="457200">
                                  <a:lnSpc>
                                    <a:spcPct val="90000"/>
                                  </a:lnSpc>
                                  <a:buClr>
                                    <a:srgbClr val="0563C1"/>
                                  </a:buClr>
                                  <a:buSzPct val="110000"/>
                                  <a:defRPr/>
                                </a:pPr>
                                <a:endParaRPr lang="en-US" sz="1050" dirty="0">
                                  <a:solidFill>
                                    <a:prstClr val="white"/>
                                  </a:solidFill>
                                </a:endParaRPr>
                              </a:p>
                            </p:txBody>
                          </p:sp>
                          <p:sp>
                            <p:nvSpPr>
                              <p:cNvPr id="144" name="Freeform 14"/>
                              <p:cNvSpPr>
                                <a:spLocks/>
                              </p:cNvSpPr>
                              <p:nvPr/>
                            </p:nvSpPr>
                            <p:spPr bwMode="auto">
                              <a:xfrm>
                                <a:off x="5593426" y="1533119"/>
                                <a:ext cx="1149042" cy="1445931"/>
                              </a:xfrm>
                              <a:custGeom>
                                <a:avLst/>
                                <a:gdLst/>
                                <a:ahLst/>
                                <a:cxnLst>
                                  <a:cxn ang="0">
                                    <a:pos x="111" y="79"/>
                                  </a:cxn>
                                  <a:cxn ang="0">
                                    <a:pos x="102" y="88"/>
                                  </a:cxn>
                                  <a:cxn ang="0">
                                    <a:pos x="98" y="95"/>
                                  </a:cxn>
                                  <a:cxn ang="0">
                                    <a:pos x="99" y="104"/>
                                  </a:cxn>
                                  <a:cxn ang="0">
                                    <a:pos x="107" y="113"/>
                                  </a:cxn>
                                  <a:cxn ang="0">
                                    <a:pos x="109" y="121"/>
                                  </a:cxn>
                                  <a:cxn ang="0">
                                    <a:pos x="105" y="126"/>
                                  </a:cxn>
                                  <a:cxn ang="0">
                                    <a:pos x="96" y="128"/>
                                  </a:cxn>
                                  <a:cxn ang="0">
                                    <a:pos x="91" y="118"/>
                                  </a:cxn>
                                  <a:cxn ang="0">
                                    <a:pos x="82" y="112"/>
                                  </a:cxn>
                                  <a:cxn ang="0">
                                    <a:pos x="74" y="113"/>
                                  </a:cxn>
                                  <a:cxn ang="0">
                                    <a:pos x="69" y="120"/>
                                  </a:cxn>
                                  <a:cxn ang="0">
                                    <a:pos x="64" y="126"/>
                                  </a:cxn>
                                  <a:cxn ang="0">
                                    <a:pos x="50" y="128"/>
                                  </a:cxn>
                                  <a:cxn ang="0">
                                    <a:pos x="45" y="133"/>
                                  </a:cxn>
                                  <a:cxn ang="0">
                                    <a:pos x="43" y="135"/>
                                  </a:cxn>
                                  <a:cxn ang="0">
                                    <a:pos x="41" y="130"/>
                                  </a:cxn>
                                  <a:cxn ang="0">
                                    <a:pos x="40" y="126"/>
                                  </a:cxn>
                                  <a:cxn ang="0">
                                    <a:pos x="34" y="122"/>
                                  </a:cxn>
                                  <a:cxn ang="0">
                                    <a:pos x="21" y="119"/>
                                  </a:cxn>
                                  <a:cxn ang="0">
                                    <a:pos x="19" y="113"/>
                                  </a:cxn>
                                  <a:cxn ang="0">
                                    <a:pos x="18" y="108"/>
                                  </a:cxn>
                                  <a:cxn ang="0">
                                    <a:pos x="15" y="106"/>
                                  </a:cxn>
                                  <a:cxn ang="0">
                                    <a:pos x="14" y="102"/>
                                  </a:cxn>
                                  <a:cxn ang="0">
                                    <a:pos x="11" y="98"/>
                                  </a:cxn>
                                  <a:cxn ang="0">
                                    <a:pos x="14" y="96"/>
                                  </a:cxn>
                                  <a:cxn ang="0">
                                    <a:pos x="14" y="89"/>
                                  </a:cxn>
                                  <a:cxn ang="0">
                                    <a:pos x="16" y="82"/>
                                  </a:cxn>
                                  <a:cxn ang="0">
                                    <a:pos x="18" y="73"/>
                                  </a:cxn>
                                  <a:cxn ang="0">
                                    <a:pos x="16" y="64"/>
                                  </a:cxn>
                                  <a:cxn ang="0">
                                    <a:pos x="12" y="59"/>
                                  </a:cxn>
                                  <a:cxn ang="0">
                                    <a:pos x="6" y="56"/>
                                  </a:cxn>
                                  <a:cxn ang="0">
                                    <a:pos x="5" y="55"/>
                                  </a:cxn>
                                  <a:cxn ang="0">
                                    <a:pos x="4" y="50"/>
                                  </a:cxn>
                                  <a:cxn ang="0">
                                    <a:pos x="0" y="48"/>
                                  </a:cxn>
                                  <a:cxn ang="0">
                                    <a:pos x="1" y="43"/>
                                  </a:cxn>
                                  <a:cxn ang="0">
                                    <a:pos x="3" y="38"/>
                                  </a:cxn>
                                  <a:cxn ang="0">
                                    <a:pos x="2" y="35"/>
                                  </a:cxn>
                                  <a:cxn ang="0">
                                    <a:pos x="4" y="32"/>
                                  </a:cxn>
                                  <a:cxn ang="0">
                                    <a:pos x="10" y="30"/>
                                  </a:cxn>
                                  <a:cxn ang="0">
                                    <a:pos x="14" y="32"/>
                                  </a:cxn>
                                  <a:cxn ang="0">
                                    <a:pos x="18" y="30"/>
                                  </a:cxn>
                                  <a:cxn ang="0">
                                    <a:pos x="24" y="24"/>
                                  </a:cxn>
                                  <a:cxn ang="0">
                                    <a:pos x="33" y="19"/>
                                  </a:cxn>
                                  <a:cxn ang="0">
                                    <a:pos x="36" y="13"/>
                                  </a:cxn>
                                  <a:cxn ang="0">
                                    <a:pos x="44" y="10"/>
                                  </a:cxn>
                                  <a:cxn ang="0">
                                    <a:pos x="48" y="4"/>
                                  </a:cxn>
                                  <a:cxn ang="0">
                                    <a:pos x="54" y="3"/>
                                  </a:cxn>
                                  <a:cxn ang="0">
                                    <a:pos x="59" y="0"/>
                                  </a:cxn>
                                  <a:cxn ang="0">
                                    <a:pos x="61" y="6"/>
                                  </a:cxn>
                                  <a:cxn ang="0">
                                    <a:pos x="58" y="10"/>
                                  </a:cxn>
                                  <a:cxn ang="0">
                                    <a:pos x="55" y="13"/>
                                  </a:cxn>
                                  <a:cxn ang="0">
                                    <a:pos x="60" y="17"/>
                                  </a:cxn>
                                  <a:cxn ang="0">
                                    <a:pos x="70" y="22"/>
                                  </a:cxn>
                                  <a:cxn ang="0">
                                    <a:pos x="77" y="26"/>
                                  </a:cxn>
                                  <a:cxn ang="0">
                                    <a:pos x="101" y="54"/>
                                  </a:cxn>
                                </a:cxnLst>
                                <a:rect l="0" t="0" r="r" b="b"/>
                                <a:pathLst>
                                  <a:path w="116" h="135">
                                    <a:moveTo>
                                      <a:pt x="116" y="77"/>
                                    </a:moveTo>
                                    <a:lnTo>
                                      <a:pt x="115" y="77"/>
                                    </a:lnTo>
                                    <a:lnTo>
                                      <a:pt x="115" y="76"/>
                                    </a:lnTo>
                                    <a:lnTo>
                                      <a:pt x="114" y="76"/>
                                    </a:lnTo>
                                    <a:lnTo>
                                      <a:pt x="113" y="77"/>
                                    </a:lnTo>
                                    <a:lnTo>
                                      <a:pt x="112" y="78"/>
                                    </a:lnTo>
                                    <a:lnTo>
                                      <a:pt x="111" y="79"/>
                                    </a:lnTo>
                                    <a:lnTo>
                                      <a:pt x="109" y="80"/>
                                    </a:lnTo>
                                    <a:lnTo>
                                      <a:pt x="108" y="81"/>
                                    </a:lnTo>
                                    <a:lnTo>
                                      <a:pt x="106" y="83"/>
                                    </a:lnTo>
                                    <a:lnTo>
                                      <a:pt x="105" y="84"/>
                                    </a:lnTo>
                                    <a:lnTo>
                                      <a:pt x="104" y="85"/>
                                    </a:lnTo>
                                    <a:lnTo>
                                      <a:pt x="103" y="87"/>
                                    </a:lnTo>
                                    <a:lnTo>
                                      <a:pt x="102" y="88"/>
                                    </a:lnTo>
                                    <a:lnTo>
                                      <a:pt x="101" y="89"/>
                                    </a:lnTo>
                                    <a:lnTo>
                                      <a:pt x="100" y="91"/>
                                    </a:lnTo>
                                    <a:lnTo>
                                      <a:pt x="99" y="92"/>
                                    </a:lnTo>
                                    <a:lnTo>
                                      <a:pt x="99" y="93"/>
                                    </a:lnTo>
                                    <a:lnTo>
                                      <a:pt x="99" y="94"/>
                                    </a:lnTo>
                                    <a:lnTo>
                                      <a:pt x="98" y="94"/>
                                    </a:lnTo>
                                    <a:lnTo>
                                      <a:pt x="98" y="95"/>
                                    </a:lnTo>
                                    <a:lnTo>
                                      <a:pt x="98" y="97"/>
                                    </a:lnTo>
                                    <a:lnTo>
                                      <a:pt x="98" y="98"/>
                                    </a:lnTo>
                                    <a:lnTo>
                                      <a:pt x="98" y="99"/>
                                    </a:lnTo>
                                    <a:lnTo>
                                      <a:pt x="98" y="100"/>
                                    </a:lnTo>
                                    <a:lnTo>
                                      <a:pt x="98" y="101"/>
                                    </a:lnTo>
                                    <a:lnTo>
                                      <a:pt x="99" y="103"/>
                                    </a:lnTo>
                                    <a:lnTo>
                                      <a:pt x="99" y="104"/>
                                    </a:lnTo>
                                    <a:lnTo>
                                      <a:pt x="100" y="105"/>
                                    </a:lnTo>
                                    <a:lnTo>
                                      <a:pt x="101" y="106"/>
                                    </a:lnTo>
                                    <a:lnTo>
                                      <a:pt x="103" y="107"/>
                                    </a:lnTo>
                                    <a:lnTo>
                                      <a:pt x="105" y="109"/>
                                    </a:lnTo>
                                    <a:lnTo>
                                      <a:pt x="106" y="110"/>
                                    </a:lnTo>
                                    <a:lnTo>
                                      <a:pt x="107" y="111"/>
                                    </a:lnTo>
                                    <a:lnTo>
                                      <a:pt x="107" y="113"/>
                                    </a:lnTo>
                                    <a:lnTo>
                                      <a:pt x="108" y="114"/>
                                    </a:lnTo>
                                    <a:lnTo>
                                      <a:pt x="109" y="115"/>
                                    </a:lnTo>
                                    <a:lnTo>
                                      <a:pt x="109" y="116"/>
                                    </a:lnTo>
                                    <a:lnTo>
                                      <a:pt x="110" y="118"/>
                                    </a:lnTo>
                                    <a:lnTo>
                                      <a:pt x="110" y="119"/>
                                    </a:lnTo>
                                    <a:lnTo>
                                      <a:pt x="110" y="120"/>
                                    </a:lnTo>
                                    <a:lnTo>
                                      <a:pt x="109" y="121"/>
                                    </a:lnTo>
                                    <a:lnTo>
                                      <a:pt x="109" y="122"/>
                                    </a:lnTo>
                                    <a:lnTo>
                                      <a:pt x="108" y="123"/>
                                    </a:lnTo>
                                    <a:lnTo>
                                      <a:pt x="108" y="124"/>
                                    </a:lnTo>
                                    <a:lnTo>
                                      <a:pt x="107" y="124"/>
                                    </a:lnTo>
                                    <a:lnTo>
                                      <a:pt x="106" y="125"/>
                                    </a:lnTo>
                                    <a:lnTo>
                                      <a:pt x="105" y="126"/>
                                    </a:lnTo>
                                    <a:lnTo>
                                      <a:pt x="105" y="126"/>
                                    </a:lnTo>
                                    <a:lnTo>
                                      <a:pt x="104" y="127"/>
                                    </a:lnTo>
                                    <a:lnTo>
                                      <a:pt x="103" y="127"/>
                                    </a:lnTo>
                                    <a:lnTo>
                                      <a:pt x="102" y="128"/>
                                    </a:lnTo>
                                    <a:lnTo>
                                      <a:pt x="100" y="128"/>
                                    </a:lnTo>
                                    <a:lnTo>
                                      <a:pt x="99" y="128"/>
                                    </a:lnTo>
                                    <a:lnTo>
                                      <a:pt x="98" y="128"/>
                                    </a:lnTo>
                                    <a:lnTo>
                                      <a:pt x="96" y="128"/>
                                    </a:lnTo>
                                    <a:lnTo>
                                      <a:pt x="95" y="128"/>
                                    </a:lnTo>
                                    <a:lnTo>
                                      <a:pt x="94" y="126"/>
                                    </a:lnTo>
                                    <a:lnTo>
                                      <a:pt x="94" y="125"/>
                                    </a:lnTo>
                                    <a:lnTo>
                                      <a:pt x="93" y="123"/>
                                    </a:lnTo>
                                    <a:lnTo>
                                      <a:pt x="93" y="121"/>
                                    </a:lnTo>
                                    <a:lnTo>
                                      <a:pt x="92" y="120"/>
                                    </a:lnTo>
                                    <a:lnTo>
                                      <a:pt x="91" y="118"/>
                                    </a:lnTo>
                                    <a:lnTo>
                                      <a:pt x="90" y="117"/>
                                    </a:lnTo>
                                    <a:lnTo>
                                      <a:pt x="89" y="116"/>
                                    </a:lnTo>
                                    <a:lnTo>
                                      <a:pt x="88" y="115"/>
                                    </a:lnTo>
                                    <a:lnTo>
                                      <a:pt x="87" y="114"/>
                                    </a:lnTo>
                                    <a:lnTo>
                                      <a:pt x="85" y="113"/>
                                    </a:lnTo>
                                    <a:lnTo>
                                      <a:pt x="84" y="113"/>
                                    </a:lnTo>
                                    <a:lnTo>
                                      <a:pt x="82" y="112"/>
                                    </a:lnTo>
                                    <a:lnTo>
                                      <a:pt x="80" y="112"/>
                                    </a:lnTo>
                                    <a:lnTo>
                                      <a:pt x="78" y="112"/>
                                    </a:lnTo>
                                    <a:lnTo>
                                      <a:pt x="76" y="111"/>
                                    </a:lnTo>
                                    <a:lnTo>
                                      <a:pt x="76" y="112"/>
                                    </a:lnTo>
                                    <a:lnTo>
                                      <a:pt x="75" y="112"/>
                                    </a:lnTo>
                                    <a:lnTo>
                                      <a:pt x="75" y="112"/>
                                    </a:lnTo>
                                    <a:lnTo>
                                      <a:pt x="74" y="113"/>
                                    </a:lnTo>
                                    <a:lnTo>
                                      <a:pt x="73" y="113"/>
                                    </a:lnTo>
                                    <a:lnTo>
                                      <a:pt x="72" y="114"/>
                                    </a:lnTo>
                                    <a:lnTo>
                                      <a:pt x="71" y="115"/>
                                    </a:lnTo>
                                    <a:lnTo>
                                      <a:pt x="71" y="116"/>
                                    </a:lnTo>
                                    <a:lnTo>
                                      <a:pt x="70" y="118"/>
                                    </a:lnTo>
                                    <a:lnTo>
                                      <a:pt x="70" y="119"/>
                                    </a:lnTo>
                                    <a:lnTo>
                                      <a:pt x="69" y="120"/>
                                    </a:lnTo>
                                    <a:lnTo>
                                      <a:pt x="68" y="121"/>
                                    </a:lnTo>
                                    <a:lnTo>
                                      <a:pt x="68" y="122"/>
                                    </a:lnTo>
                                    <a:lnTo>
                                      <a:pt x="67" y="123"/>
                                    </a:lnTo>
                                    <a:lnTo>
                                      <a:pt x="66" y="124"/>
                                    </a:lnTo>
                                    <a:lnTo>
                                      <a:pt x="65" y="125"/>
                                    </a:lnTo>
                                    <a:lnTo>
                                      <a:pt x="64" y="126"/>
                                    </a:lnTo>
                                    <a:lnTo>
                                      <a:pt x="64" y="126"/>
                                    </a:lnTo>
                                    <a:lnTo>
                                      <a:pt x="63" y="126"/>
                                    </a:lnTo>
                                    <a:lnTo>
                                      <a:pt x="53" y="126"/>
                                    </a:lnTo>
                                    <a:lnTo>
                                      <a:pt x="53" y="126"/>
                                    </a:lnTo>
                                    <a:lnTo>
                                      <a:pt x="52" y="127"/>
                                    </a:lnTo>
                                    <a:lnTo>
                                      <a:pt x="52" y="127"/>
                                    </a:lnTo>
                                    <a:lnTo>
                                      <a:pt x="51" y="127"/>
                                    </a:lnTo>
                                    <a:lnTo>
                                      <a:pt x="50" y="128"/>
                                    </a:lnTo>
                                    <a:lnTo>
                                      <a:pt x="50" y="128"/>
                                    </a:lnTo>
                                    <a:lnTo>
                                      <a:pt x="49" y="129"/>
                                    </a:lnTo>
                                    <a:lnTo>
                                      <a:pt x="48" y="130"/>
                                    </a:lnTo>
                                    <a:lnTo>
                                      <a:pt x="47" y="131"/>
                                    </a:lnTo>
                                    <a:lnTo>
                                      <a:pt x="47" y="132"/>
                                    </a:lnTo>
                                    <a:lnTo>
                                      <a:pt x="46" y="133"/>
                                    </a:lnTo>
                                    <a:lnTo>
                                      <a:pt x="45" y="133"/>
                                    </a:lnTo>
                                    <a:lnTo>
                                      <a:pt x="44" y="134"/>
                                    </a:lnTo>
                                    <a:lnTo>
                                      <a:pt x="44" y="135"/>
                                    </a:lnTo>
                                    <a:lnTo>
                                      <a:pt x="44" y="135"/>
                                    </a:lnTo>
                                    <a:lnTo>
                                      <a:pt x="43" y="135"/>
                                    </a:lnTo>
                                    <a:lnTo>
                                      <a:pt x="43" y="135"/>
                                    </a:lnTo>
                                    <a:lnTo>
                                      <a:pt x="43" y="135"/>
                                    </a:lnTo>
                                    <a:lnTo>
                                      <a:pt x="43" y="135"/>
                                    </a:lnTo>
                                    <a:lnTo>
                                      <a:pt x="42" y="135"/>
                                    </a:lnTo>
                                    <a:lnTo>
                                      <a:pt x="42" y="135"/>
                                    </a:lnTo>
                                    <a:lnTo>
                                      <a:pt x="42" y="135"/>
                                    </a:lnTo>
                                    <a:lnTo>
                                      <a:pt x="41" y="135"/>
                                    </a:lnTo>
                                    <a:lnTo>
                                      <a:pt x="41" y="133"/>
                                    </a:lnTo>
                                    <a:lnTo>
                                      <a:pt x="41" y="131"/>
                                    </a:lnTo>
                                    <a:lnTo>
                                      <a:pt x="41" y="130"/>
                                    </a:lnTo>
                                    <a:lnTo>
                                      <a:pt x="41" y="128"/>
                                    </a:lnTo>
                                    <a:lnTo>
                                      <a:pt x="42" y="128"/>
                                    </a:lnTo>
                                    <a:lnTo>
                                      <a:pt x="41" y="127"/>
                                    </a:lnTo>
                                    <a:lnTo>
                                      <a:pt x="41" y="127"/>
                                    </a:lnTo>
                                    <a:lnTo>
                                      <a:pt x="41" y="127"/>
                                    </a:lnTo>
                                    <a:lnTo>
                                      <a:pt x="41" y="127"/>
                                    </a:lnTo>
                                    <a:lnTo>
                                      <a:pt x="40" y="126"/>
                                    </a:lnTo>
                                    <a:lnTo>
                                      <a:pt x="40" y="126"/>
                                    </a:lnTo>
                                    <a:lnTo>
                                      <a:pt x="40" y="126"/>
                                    </a:lnTo>
                                    <a:lnTo>
                                      <a:pt x="39" y="125"/>
                                    </a:lnTo>
                                    <a:lnTo>
                                      <a:pt x="38" y="125"/>
                                    </a:lnTo>
                                    <a:lnTo>
                                      <a:pt x="37" y="124"/>
                                    </a:lnTo>
                                    <a:lnTo>
                                      <a:pt x="35" y="123"/>
                                    </a:lnTo>
                                    <a:lnTo>
                                      <a:pt x="34" y="122"/>
                                    </a:lnTo>
                                    <a:lnTo>
                                      <a:pt x="33" y="122"/>
                                    </a:lnTo>
                                    <a:lnTo>
                                      <a:pt x="32" y="121"/>
                                    </a:lnTo>
                                    <a:lnTo>
                                      <a:pt x="30" y="121"/>
                                    </a:lnTo>
                                    <a:lnTo>
                                      <a:pt x="29" y="120"/>
                                    </a:lnTo>
                                    <a:lnTo>
                                      <a:pt x="27" y="120"/>
                                    </a:lnTo>
                                    <a:lnTo>
                                      <a:pt x="24" y="119"/>
                                    </a:lnTo>
                                    <a:lnTo>
                                      <a:pt x="21" y="119"/>
                                    </a:lnTo>
                                    <a:lnTo>
                                      <a:pt x="18" y="118"/>
                                    </a:lnTo>
                                    <a:lnTo>
                                      <a:pt x="18" y="117"/>
                                    </a:lnTo>
                                    <a:lnTo>
                                      <a:pt x="19" y="116"/>
                                    </a:lnTo>
                                    <a:lnTo>
                                      <a:pt x="19" y="115"/>
                                    </a:lnTo>
                                    <a:lnTo>
                                      <a:pt x="19" y="115"/>
                                    </a:lnTo>
                                    <a:lnTo>
                                      <a:pt x="19" y="114"/>
                                    </a:lnTo>
                                    <a:lnTo>
                                      <a:pt x="19" y="113"/>
                                    </a:lnTo>
                                    <a:lnTo>
                                      <a:pt x="19" y="112"/>
                                    </a:lnTo>
                                    <a:lnTo>
                                      <a:pt x="19" y="112"/>
                                    </a:lnTo>
                                    <a:lnTo>
                                      <a:pt x="19" y="111"/>
                                    </a:lnTo>
                                    <a:lnTo>
                                      <a:pt x="19" y="110"/>
                                    </a:lnTo>
                                    <a:lnTo>
                                      <a:pt x="19" y="109"/>
                                    </a:lnTo>
                                    <a:lnTo>
                                      <a:pt x="18" y="109"/>
                                    </a:lnTo>
                                    <a:lnTo>
                                      <a:pt x="18" y="108"/>
                                    </a:lnTo>
                                    <a:lnTo>
                                      <a:pt x="17" y="108"/>
                                    </a:lnTo>
                                    <a:lnTo>
                                      <a:pt x="17" y="107"/>
                                    </a:lnTo>
                                    <a:lnTo>
                                      <a:pt x="16" y="106"/>
                                    </a:lnTo>
                                    <a:lnTo>
                                      <a:pt x="16" y="106"/>
                                    </a:lnTo>
                                    <a:lnTo>
                                      <a:pt x="15" y="106"/>
                                    </a:lnTo>
                                    <a:lnTo>
                                      <a:pt x="15" y="106"/>
                                    </a:lnTo>
                                    <a:lnTo>
                                      <a:pt x="15" y="106"/>
                                    </a:lnTo>
                                    <a:lnTo>
                                      <a:pt x="15" y="105"/>
                                    </a:lnTo>
                                    <a:lnTo>
                                      <a:pt x="15" y="105"/>
                                    </a:lnTo>
                                    <a:lnTo>
                                      <a:pt x="15" y="104"/>
                                    </a:lnTo>
                                    <a:lnTo>
                                      <a:pt x="15" y="103"/>
                                    </a:lnTo>
                                    <a:lnTo>
                                      <a:pt x="15" y="103"/>
                                    </a:lnTo>
                                    <a:lnTo>
                                      <a:pt x="14" y="102"/>
                                    </a:lnTo>
                                    <a:lnTo>
                                      <a:pt x="14" y="102"/>
                                    </a:lnTo>
                                    <a:lnTo>
                                      <a:pt x="14" y="102"/>
                                    </a:lnTo>
                                    <a:lnTo>
                                      <a:pt x="13" y="101"/>
                                    </a:lnTo>
                                    <a:lnTo>
                                      <a:pt x="12" y="100"/>
                                    </a:lnTo>
                                    <a:lnTo>
                                      <a:pt x="12" y="100"/>
                                    </a:lnTo>
                                    <a:lnTo>
                                      <a:pt x="12" y="99"/>
                                    </a:lnTo>
                                    <a:lnTo>
                                      <a:pt x="12" y="99"/>
                                    </a:lnTo>
                                    <a:lnTo>
                                      <a:pt x="11" y="98"/>
                                    </a:lnTo>
                                    <a:lnTo>
                                      <a:pt x="12" y="98"/>
                                    </a:lnTo>
                                    <a:lnTo>
                                      <a:pt x="12" y="98"/>
                                    </a:lnTo>
                                    <a:lnTo>
                                      <a:pt x="13" y="98"/>
                                    </a:lnTo>
                                    <a:lnTo>
                                      <a:pt x="13" y="97"/>
                                    </a:lnTo>
                                    <a:lnTo>
                                      <a:pt x="14" y="97"/>
                                    </a:lnTo>
                                    <a:lnTo>
                                      <a:pt x="14" y="96"/>
                                    </a:lnTo>
                                    <a:lnTo>
                                      <a:pt x="14" y="96"/>
                                    </a:lnTo>
                                    <a:lnTo>
                                      <a:pt x="14" y="95"/>
                                    </a:lnTo>
                                    <a:lnTo>
                                      <a:pt x="15" y="94"/>
                                    </a:lnTo>
                                    <a:lnTo>
                                      <a:pt x="15" y="94"/>
                                    </a:lnTo>
                                    <a:lnTo>
                                      <a:pt x="15" y="93"/>
                                    </a:lnTo>
                                    <a:lnTo>
                                      <a:pt x="14" y="92"/>
                                    </a:lnTo>
                                    <a:lnTo>
                                      <a:pt x="14" y="90"/>
                                    </a:lnTo>
                                    <a:lnTo>
                                      <a:pt x="14" y="89"/>
                                    </a:lnTo>
                                    <a:lnTo>
                                      <a:pt x="14" y="88"/>
                                    </a:lnTo>
                                    <a:lnTo>
                                      <a:pt x="14" y="87"/>
                                    </a:lnTo>
                                    <a:lnTo>
                                      <a:pt x="15" y="87"/>
                                    </a:lnTo>
                                    <a:lnTo>
                                      <a:pt x="15" y="85"/>
                                    </a:lnTo>
                                    <a:lnTo>
                                      <a:pt x="15" y="84"/>
                                    </a:lnTo>
                                    <a:lnTo>
                                      <a:pt x="16" y="83"/>
                                    </a:lnTo>
                                    <a:lnTo>
                                      <a:pt x="16" y="82"/>
                                    </a:lnTo>
                                    <a:lnTo>
                                      <a:pt x="16" y="81"/>
                                    </a:lnTo>
                                    <a:lnTo>
                                      <a:pt x="17" y="80"/>
                                    </a:lnTo>
                                    <a:lnTo>
                                      <a:pt x="17" y="79"/>
                                    </a:lnTo>
                                    <a:lnTo>
                                      <a:pt x="18" y="78"/>
                                    </a:lnTo>
                                    <a:lnTo>
                                      <a:pt x="18" y="76"/>
                                    </a:lnTo>
                                    <a:lnTo>
                                      <a:pt x="18" y="75"/>
                                    </a:lnTo>
                                    <a:lnTo>
                                      <a:pt x="18" y="73"/>
                                    </a:lnTo>
                                    <a:lnTo>
                                      <a:pt x="18" y="72"/>
                                    </a:lnTo>
                                    <a:lnTo>
                                      <a:pt x="19" y="70"/>
                                    </a:lnTo>
                                    <a:lnTo>
                                      <a:pt x="18" y="68"/>
                                    </a:lnTo>
                                    <a:lnTo>
                                      <a:pt x="18" y="67"/>
                                    </a:lnTo>
                                    <a:lnTo>
                                      <a:pt x="18" y="65"/>
                                    </a:lnTo>
                                    <a:lnTo>
                                      <a:pt x="17" y="64"/>
                                    </a:lnTo>
                                    <a:lnTo>
                                      <a:pt x="16" y="64"/>
                                    </a:lnTo>
                                    <a:lnTo>
                                      <a:pt x="16" y="64"/>
                                    </a:lnTo>
                                    <a:lnTo>
                                      <a:pt x="15" y="63"/>
                                    </a:lnTo>
                                    <a:lnTo>
                                      <a:pt x="14" y="62"/>
                                    </a:lnTo>
                                    <a:lnTo>
                                      <a:pt x="14" y="61"/>
                                    </a:lnTo>
                                    <a:lnTo>
                                      <a:pt x="13" y="60"/>
                                    </a:lnTo>
                                    <a:lnTo>
                                      <a:pt x="12" y="59"/>
                                    </a:lnTo>
                                    <a:lnTo>
                                      <a:pt x="12" y="59"/>
                                    </a:lnTo>
                                    <a:lnTo>
                                      <a:pt x="11" y="58"/>
                                    </a:lnTo>
                                    <a:lnTo>
                                      <a:pt x="10" y="58"/>
                                    </a:lnTo>
                                    <a:lnTo>
                                      <a:pt x="9" y="57"/>
                                    </a:lnTo>
                                    <a:lnTo>
                                      <a:pt x="9" y="57"/>
                                    </a:lnTo>
                                    <a:lnTo>
                                      <a:pt x="7" y="57"/>
                                    </a:lnTo>
                                    <a:lnTo>
                                      <a:pt x="6" y="56"/>
                                    </a:lnTo>
                                    <a:lnTo>
                                      <a:pt x="6" y="56"/>
                                    </a:lnTo>
                                    <a:lnTo>
                                      <a:pt x="6" y="56"/>
                                    </a:lnTo>
                                    <a:lnTo>
                                      <a:pt x="6" y="55"/>
                                    </a:lnTo>
                                    <a:lnTo>
                                      <a:pt x="6" y="55"/>
                                    </a:lnTo>
                                    <a:lnTo>
                                      <a:pt x="6" y="55"/>
                                    </a:lnTo>
                                    <a:lnTo>
                                      <a:pt x="5" y="55"/>
                                    </a:lnTo>
                                    <a:lnTo>
                                      <a:pt x="5" y="55"/>
                                    </a:lnTo>
                                    <a:lnTo>
                                      <a:pt x="5" y="55"/>
                                    </a:lnTo>
                                    <a:lnTo>
                                      <a:pt x="5" y="54"/>
                                    </a:lnTo>
                                    <a:lnTo>
                                      <a:pt x="5" y="53"/>
                                    </a:lnTo>
                                    <a:lnTo>
                                      <a:pt x="5" y="52"/>
                                    </a:lnTo>
                                    <a:lnTo>
                                      <a:pt x="5" y="52"/>
                                    </a:lnTo>
                                    <a:lnTo>
                                      <a:pt x="5" y="51"/>
                                    </a:lnTo>
                                    <a:lnTo>
                                      <a:pt x="4" y="51"/>
                                    </a:lnTo>
                                    <a:lnTo>
                                      <a:pt x="4" y="50"/>
                                    </a:lnTo>
                                    <a:lnTo>
                                      <a:pt x="4" y="50"/>
                                    </a:lnTo>
                                    <a:lnTo>
                                      <a:pt x="3" y="50"/>
                                    </a:lnTo>
                                    <a:lnTo>
                                      <a:pt x="3" y="49"/>
                                    </a:lnTo>
                                    <a:lnTo>
                                      <a:pt x="2" y="49"/>
                                    </a:lnTo>
                                    <a:lnTo>
                                      <a:pt x="1" y="49"/>
                                    </a:lnTo>
                                    <a:lnTo>
                                      <a:pt x="0" y="48"/>
                                    </a:lnTo>
                                    <a:lnTo>
                                      <a:pt x="0" y="48"/>
                                    </a:lnTo>
                                    <a:lnTo>
                                      <a:pt x="0" y="47"/>
                                    </a:lnTo>
                                    <a:lnTo>
                                      <a:pt x="0" y="46"/>
                                    </a:lnTo>
                                    <a:lnTo>
                                      <a:pt x="0" y="46"/>
                                    </a:lnTo>
                                    <a:lnTo>
                                      <a:pt x="0" y="45"/>
                                    </a:lnTo>
                                    <a:lnTo>
                                      <a:pt x="0" y="44"/>
                                    </a:lnTo>
                                    <a:lnTo>
                                      <a:pt x="1" y="43"/>
                                    </a:lnTo>
                                    <a:lnTo>
                                      <a:pt x="1" y="43"/>
                                    </a:lnTo>
                                    <a:lnTo>
                                      <a:pt x="1" y="42"/>
                                    </a:lnTo>
                                    <a:lnTo>
                                      <a:pt x="2" y="41"/>
                                    </a:lnTo>
                                    <a:lnTo>
                                      <a:pt x="2" y="41"/>
                                    </a:lnTo>
                                    <a:lnTo>
                                      <a:pt x="3" y="40"/>
                                    </a:lnTo>
                                    <a:lnTo>
                                      <a:pt x="3" y="39"/>
                                    </a:lnTo>
                                    <a:lnTo>
                                      <a:pt x="3" y="39"/>
                                    </a:lnTo>
                                    <a:lnTo>
                                      <a:pt x="3" y="38"/>
                                    </a:lnTo>
                                    <a:lnTo>
                                      <a:pt x="3" y="38"/>
                                    </a:lnTo>
                                    <a:lnTo>
                                      <a:pt x="3" y="37"/>
                                    </a:lnTo>
                                    <a:lnTo>
                                      <a:pt x="3" y="37"/>
                                    </a:lnTo>
                                    <a:lnTo>
                                      <a:pt x="3" y="37"/>
                                    </a:lnTo>
                                    <a:lnTo>
                                      <a:pt x="2" y="36"/>
                                    </a:lnTo>
                                    <a:lnTo>
                                      <a:pt x="2" y="36"/>
                                    </a:lnTo>
                                    <a:lnTo>
                                      <a:pt x="2" y="35"/>
                                    </a:lnTo>
                                    <a:lnTo>
                                      <a:pt x="1" y="35"/>
                                    </a:lnTo>
                                    <a:lnTo>
                                      <a:pt x="2" y="34"/>
                                    </a:lnTo>
                                    <a:lnTo>
                                      <a:pt x="2" y="34"/>
                                    </a:lnTo>
                                    <a:lnTo>
                                      <a:pt x="3" y="33"/>
                                    </a:lnTo>
                                    <a:lnTo>
                                      <a:pt x="4" y="33"/>
                                    </a:lnTo>
                                    <a:lnTo>
                                      <a:pt x="4" y="33"/>
                                    </a:lnTo>
                                    <a:lnTo>
                                      <a:pt x="4" y="32"/>
                                    </a:lnTo>
                                    <a:lnTo>
                                      <a:pt x="5" y="32"/>
                                    </a:lnTo>
                                    <a:lnTo>
                                      <a:pt x="6" y="31"/>
                                    </a:lnTo>
                                    <a:lnTo>
                                      <a:pt x="6" y="31"/>
                                    </a:lnTo>
                                    <a:lnTo>
                                      <a:pt x="7" y="31"/>
                                    </a:lnTo>
                                    <a:lnTo>
                                      <a:pt x="8" y="30"/>
                                    </a:lnTo>
                                    <a:lnTo>
                                      <a:pt x="9" y="30"/>
                                    </a:lnTo>
                                    <a:lnTo>
                                      <a:pt x="10" y="30"/>
                                    </a:lnTo>
                                    <a:lnTo>
                                      <a:pt x="10" y="30"/>
                                    </a:lnTo>
                                    <a:lnTo>
                                      <a:pt x="11" y="30"/>
                                    </a:lnTo>
                                    <a:lnTo>
                                      <a:pt x="12" y="30"/>
                                    </a:lnTo>
                                    <a:lnTo>
                                      <a:pt x="13" y="31"/>
                                    </a:lnTo>
                                    <a:lnTo>
                                      <a:pt x="13" y="31"/>
                                    </a:lnTo>
                                    <a:lnTo>
                                      <a:pt x="14" y="31"/>
                                    </a:lnTo>
                                    <a:lnTo>
                                      <a:pt x="14" y="32"/>
                                    </a:lnTo>
                                    <a:lnTo>
                                      <a:pt x="15" y="32"/>
                                    </a:lnTo>
                                    <a:lnTo>
                                      <a:pt x="16" y="33"/>
                                    </a:lnTo>
                                    <a:lnTo>
                                      <a:pt x="16" y="33"/>
                                    </a:lnTo>
                                    <a:lnTo>
                                      <a:pt x="17" y="32"/>
                                    </a:lnTo>
                                    <a:lnTo>
                                      <a:pt x="17" y="31"/>
                                    </a:lnTo>
                                    <a:lnTo>
                                      <a:pt x="17" y="31"/>
                                    </a:lnTo>
                                    <a:lnTo>
                                      <a:pt x="18" y="30"/>
                                    </a:lnTo>
                                    <a:lnTo>
                                      <a:pt x="18" y="29"/>
                                    </a:lnTo>
                                    <a:lnTo>
                                      <a:pt x="19" y="29"/>
                                    </a:lnTo>
                                    <a:lnTo>
                                      <a:pt x="20" y="28"/>
                                    </a:lnTo>
                                    <a:lnTo>
                                      <a:pt x="20" y="27"/>
                                    </a:lnTo>
                                    <a:lnTo>
                                      <a:pt x="21" y="26"/>
                                    </a:lnTo>
                                    <a:lnTo>
                                      <a:pt x="23" y="25"/>
                                    </a:lnTo>
                                    <a:lnTo>
                                      <a:pt x="24" y="24"/>
                                    </a:lnTo>
                                    <a:lnTo>
                                      <a:pt x="26" y="24"/>
                                    </a:lnTo>
                                    <a:lnTo>
                                      <a:pt x="27" y="23"/>
                                    </a:lnTo>
                                    <a:lnTo>
                                      <a:pt x="29" y="22"/>
                                    </a:lnTo>
                                    <a:lnTo>
                                      <a:pt x="30" y="21"/>
                                    </a:lnTo>
                                    <a:lnTo>
                                      <a:pt x="32" y="20"/>
                                    </a:lnTo>
                                    <a:lnTo>
                                      <a:pt x="32" y="19"/>
                                    </a:lnTo>
                                    <a:lnTo>
                                      <a:pt x="33" y="19"/>
                                    </a:lnTo>
                                    <a:lnTo>
                                      <a:pt x="33" y="18"/>
                                    </a:lnTo>
                                    <a:lnTo>
                                      <a:pt x="34" y="17"/>
                                    </a:lnTo>
                                    <a:lnTo>
                                      <a:pt x="34" y="16"/>
                                    </a:lnTo>
                                    <a:lnTo>
                                      <a:pt x="34" y="15"/>
                                    </a:lnTo>
                                    <a:lnTo>
                                      <a:pt x="35" y="14"/>
                                    </a:lnTo>
                                    <a:lnTo>
                                      <a:pt x="35" y="13"/>
                                    </a:lnTo>
                                    <a:lnTo>
                                      <a:pt x="36" y="13"/>
                                    </a:lnTo>
                                    <a:lnTo>
                                      <a:pt x="37" y="13"/>
                                    </a:lnTo>
                                    <a:lnTo>
                                      <a:pt x="38" y="13"/>
                                    </a:lnTo>
                                    <a:lnTo>
                                      <a:pt x="40" y="12"/>
                                    </a:lnTo>
                                    <a:lnTo>
                                      <a:pt x="41" y="12"/>
                                    </a:lnTo>
                                    <a:lnTo>
                                      <a:pt x="42" y="11"/>
                                    </a:lnTo>
                                    <a:lnTo>
                                      <a:pt x="43" y="11"/>
                                    </a:lnTo>
                                    <a:lnTo>
                                      <a:pt x="44" y="10"/>
                                    </a:lnTo>
                                    <a:lnTo>
                                      <a:pt x="44" y="10"/>
                                    </a:lnTo>
                                    <a:lnTo>
                                      <a:pt x="45" y="9"/>
                                    </a:lnTo>
                                    <a:lnTo>
                                      <a:pt x="46" y="8"/>
                                    </a:lnTo>
                                    <a:lnTo>
                                      <a:pt x="46" y="7"/>
                                    </a:lnTo>
                                    <a:lnTo>
                                      <a:pt x="47" y="6"/>
                                    </a:lnTo>
                                    <a:lnTo>
                                      <a:pt x="47" y="5"/>
                                    </a:lnTo>
                                    <a:lnTo>
                                      <a:pt x="48" y="4"/>
                                    </a:lnTo>
                                    <a:lnTo>
                                      <a:pt x="48" y="3"/>
                                    </a:lnTo>
                                    <a:lnTo>
                                      <a:pt x="49" y="3"/>
                                    </a:lnTo>
                                    <a:lnTo>
                                      <a:pt x="50" y="3"/>
                                    </a:lnTo>
                                    <a:lnTo>
                                      <a:pt x="51" y="3"/>
                                    </a:lnTo>
                                    <a:lnTo>
                                      <a:pt x="52" y="3"/>
                                    </a:lnTo>
                                    <a:lnTo>
                                      <a:pt x="53" y="3"/>
                                    </a:lnTo>
                                    <a:lnTo>
                                      <a:pt x="54" y="3"/>
                                    </a:lnTo>
                                    <a:lnTo>
                                      <a:pt x="55" y="2"/>
                                    </a:lnTo>
                                    <a:lnTo>
                                      <a:pt x="55" y="2"/>
                                    </a:lnTo>
                                    <a:lnTo>
                                      <a:pt x="57" y="1"/>
                                    </a:lnTo>
                                    <a:lnTo>
                                      <a:pt x="57" y="1"/>
                                    </a:lnTo>
                                    <a:lnTo>
                                      <a:pt x="58" y="1"/>
                                    </a:lnTo>
                                    <a:lnTo>
                                      <a:pt x="59" y="0"/>
                                    </a:lnTo>
                                    <a:lnTo>
                                      <a:pt x="59" y="0"/>
                                    </a:lnTo>
                                    <a:lnTo>
                                      <a:pt x="60" y="0"/>
                                    </a:lnTo>
                                    <a:lnTo>
                                      <a:pt x="61" y="0"/>
                                    </a:lnTo>
                                    <a:lnTo>
                                      <a:pt x="61" y="2"/>
                                    </a:lnTo>
                                    <a:lnTo>
                                      <a:pt x="61" y="3"/>
                                    </a:lnTo>
                                    <a:lnTo>
                                      <a:pt x="61" y="4"/>
                                    </a:lnTo>
                                    <a:lnTo>
                                      <a:pt x="61" y="5"/>
                                    </a:lnTo>
                                    <a:lnTo>
                                      <a:pt x="61" y="6"/>
                                    </a:lnTo>
                                    <a:lnTo>
                                      <a:pt x="61" y="7"/>
                                    </a:lnTo>
                                    <a:lnTo>
                                      <a:pt x="61" y="8"/>
                                    </a:lnTo>
                                    <a:lnTo>
                                      <a:pt x="60" y="8"/>
                                    </a:lnTo>
                                    <a:lnTo>
                                      <a:pt x="60" y="9"/>
                                    </a:lnTo>
                                    <a:lnTo>
                                      <a:pt x="59" y="9"/>
                                    </a:lnTo>
                                    <a:lnTo>
                                      <a:pt x="59" y="10"/>
                                    </a:lnTo>
                                    <a:lnTo>
                                      <a:pt x="58" y="10"/>
                                    </a:lnTo>
                                    <a:lnTo>
                                      <a:pt x="57" y="10"/>
                                    </a:lnTo>
                                    <a:lnTo>
                                      <a:pt x="56" y="10"/>
                                    </a:lnTo>
                                    <a:lnTo>
                                      <a:pt x="55" y="10"/>
                                    </a:lnTo>
                                    <a:lnTo>
                                      <a:pt x="55" y="10"/>
                                    </a:lnTo>
                                    <a:lnTo>
                                      <a:pt x="55" y="11"/>
                                    </a:lnTo>
                                    <a:lnTo>
                                      <a:pt x="55" y="12"/>
                                    </a:lnTo>
                                    <a:lnTo>
                                      <a:pt x="55" y="13"/>
                                    </a:lnTo>
                                    <a:lnTo>
                                      <a:pt x="56" y="14"/>
                                    </a:lnTo>
                                    <a:lnTo>
                                      <a:pt x="56" y="14"/>
                                    </a:lnTo>
                                    <a:lnTo>
                                      <a:pt x="57" y="15"/>
                                    </a:lnTo>
                                    <a:lnTo>
                                      <a:pt x="58" y="16"/>
                                    </a:lnTo>
                                    <a:lnTo>
                                      <a:pt x="58" y="16"/>
                                    </a:lnTo>
                                    <a:lnTo>
                                      <a:pt x="59" y="17"/>
                                    </a:lnTo>
                                    <a:lnTo>
                                      <a:pt x="60" y="17"/>
                                    </a:lnTo>
                                    <a:lnTo>
                                      <a:pt x="61" y="18"/>
                                    </a:lnTo>
                                    <a:lnTo>
                                      <a:pt x="63" y="19"/>
                                    </a:lnTo>
                                    <a:lnTo>
                                      <a:pt x="65" y="20"/>
                                    </a:lnTo>
                                    <a:lnTo>
                                      <a:pt x="66" y="20"/>
                                    </a:lnTo>
                                    <a:lnTo>
                                      <a:pt x="66" y="21"/>
                                    </a:lnTo>
                                    <a:lnTo>
                                      <a:pt x="68" y="21"/>
                                    </a:lnTo>
                                    <a:lnTo>
                                      <a:pt x="70" y="22"/>
                                    </a:lnTo>
                                    <a:lnTo>
                                      <a:pt x="71" y="23"/>
                                    </a:lnTo>
                                    <a:lnTo>
                                      <a:pt x="72" y="24"/>
                                    </a:lnTo>
                                    <a:lnTo>
                                      <a:pt x="73" y="25"/>
                                    </a:lnTo>
                                    <a:lnTo>
                                      <a:pt x="74" y="25"/>
                                    </a:lnTo>
                                    <a:lnTo>
                                      <a:pt x="75" y="26"/>
                                    </a:lnTo>
                                    <a:lnTo>
                                      <a:pt x="76" y="26"/>
                                    </a:lnTo>
                                    <a:lnTo>
                                      <a:pt x="77" y="26"/>
                                    </a:lnTo>
                                    <a:lnTo>
                                      <a:pt x="78" y="26"/>
                                    </a:lnTo>
                                    <a:lnTo>
                                      <a:pt x="82" y="31"/>
                                    </a:lnTo>
                                    <a:lnTo>
                                      <a:pt x="86" y="35"/>
                                    </a:lnTo>
                                    <a:lnTo>
                                      <a:pt x="90" y="40"/>
                                    </a:lnTo>
                                    <a:lnTo>
                                      <a:pt x="93" y="44"/>
                                    </a:lnTo>
                                    <a:lnTo>
                                      <a:pt x="97" y="49"/>
                                    </a:lnTo>
                                    <a:lnTo>
                                      <a:pt x="101" y="54"/>
                                    </a:lnTo>
                                    <a:lnTo>
                                      <a:pt x="104" y="58"/>
                                    </a:lnTo>
                                    <a:lnTo>
                                      <a:pt x="108" y="63"/>
                                    </a:lnTo>
                                    <a:lnTo>
                                      <a:pt x="115" y="73"/>
                                    </a:lnTo>
                                    <a:lnTo>
                                      <a:pt x="116" y="77"/>
                                    </a:lnTo>
                                  </a:path>
                                </a:pathLst>
                              </a:custGeom>
                              <a:solidFill>
                                <a:schemeClr val="bg1">
                                  <a:lumMod val="95000"/>
                                </a:schemeClr>
                              </a:solidFill>
                              <a:ln w="9525">
                                <a:solidFill>
                                  <a:schemeClr val="accent2">
                                    <a:lumMod val="40000"/>
                                    <a:lumOff val="60000"/>
                                  </a:schemeClr>
                                </a:solidFill>
                              </a:ln>
                            </p:spPr>
                            <p:style>
                              <a:lnRef idx="2">
                                <a:schemeClr val="accent1">
                                  <a:shade val="50000"/>
                                </a:schemeClr>
                              </a:lnRef>
                              <a:fillRef idx="1">
                                <a:schemeClr val="accent1"/>
                              </a:fillRef>
                              <a:effectRef idx="0">
                                <a:schemeClr val="accent1"/>
                              </a:effectRef>
                              <a:fontRef idx="minor">
                                <a:schemeClr val="lt1"/>
                              </a:fontRef>
                            </p:style>
                            <p:txBody>
                              <a:bodyPr lIns="104000" tIns="104000" rIns="104000" bIns="104000" anchor="ctr"/>
                              <a:lstStyle/>
                              <a:p>
                                <a:pPr algn="ctr" defTabSz="457200">
                                  <a:lnSpc>
                                    <a:spcPct val="90000"/>
                                  </a:lnSpc>
                                  <a:buClr>
                                    <a:srgbClr val="0563C1"/>
                                  </a:buClr>
                                  <a:buSzPct val="110000"/>
                                  <a:defRPr/>
                                </a:pPr>
                                <a:endParaRPr lang="en-US" sz="1050" dirty="0">
                                  <a:solidFill>
                                    <a:prstClr val="white"/>
                                  </a:solidFill>
                                </a:endParaRPr>
                              </a:p>
                            </p:txBody>
                          </p:sp>
                          <p:sp>
                            <p:nvSpPr>
                              <p:cNvPr id="145" name="Freeform 15"/>
                              <p:cNvSpPr>
                                <a:spLocks/>
                              </p:cNvSpPr>
                              <p:nvPr/>
                            </p:nvSpPr>
                            <p:spPr bwMode="auto">
                              <a:xfrm>
                                <a:off x="4259799" y="1341312"/>
                                <a:ext cx="1384388" cy="963954"/>
                              </a:xfrm>
                              <a:custGeom>
                                <a:avLst/>
                                <a:gdLst/>
                                <a:ahLst/>
                                <a:cxnLst>
                                  <a:cxn ang="0">
                                    <a:pos x="134" y="44"/>
                                  </a:cxn>
                                  <a:cxn ang="0">
                                    <a:pos x="132" y="48"/>
                                  </a:cxn>
                                  <a:cxn ang="0">
                                    <a:pos x="131" y="53"/>
                                  </a:cxn>
                                  <a:cxn ang="0">
                                    <a:pos x="136" y="54"/>
                                  </a:cxn>
                                  <a:cxn ang="0">
                                    <a:pos x="135" y="60"/>
                                  </a:cxn>
                                  <a:cxn ang="0">
                                    <a:pos x="137" y="67"/>
                                  </a:cxn>
                                  <a:cxn ang="0">
                                    <a:pos x="139" y="74"/>
                                  </a:cxn>
                                  <a:cxn ang="0">
                                    <a:pos x="128" y="71"/>
                                  </a:cxn>
                                  <a:cxn ang="0">
                                    <a:pos x="123" y="67"/>
                                  </a:cxn>
                                  <a:cxn ang="0">
                                    <a:pos x="114" y="68"/>
                                  </a:cxn>
                                  <a:cxn ang="0">
                                    <a:pos x="106" y="65"/>
                                  </a:cxn>
                                  <a:cxn ang="0">
                                    <a:pos x="94" y="59"/>
                                  </a:cxn>
                                  <a:cxn ang="0">
                                    <a:pos x="76" y="56"/>
                                  </a:cxn>
                                  <a:cxn ang="0">
                                    <a:pos x="65" y="49"/>
                                  </a:cxn>
                                  <a:cxn ang="0">
                                    <a:pos x="59" y="51"/>
                                  </a:cxn>
                                  <a:cxn ang="0">
                                    <a:pos x="44" y="54"/>
                                  </a:cxn>
                                  <a:cxn ang="0">
                                    <a:pos x="41" y="60"/>
                                  </a:cxn>
                                  <a:cxn ang="0">
                                    <a:pos x="42" y="65"/>
                                  </a:cxn>
                                  <a:cxn ang="0">
                                    <a:pos x="45" y="73"/>
                                  </a:cxn>
                                  <a:cxn ang="0">
                                    <a:pos x="31" y="85"/>
                                  </a:cxn>
                                  <a:cxn ang="0">
                                    <a:pos x="23" y="85"/>
                                  </a:cxn>
                                  <a:cxn ang="0">
                                    <a:pos x="14" y="89"/>
                                  </a:cxn>
                                  <a:cxn ang="0">
                                    <a:pos x="2" y="89"/>
                                  </a:cxn>
                                  <a:cxn ang="0">
                                    <a:pos x="1" y="72"/>
                                  </a:cxn>
                                  <a:cxn ang="0">
                                    <a:pos x="7" y="68"/>
                                  </a:cxn>
                                  <a:cxn ang="0">
                                    <a:pos x="7" y="59"/>
                                  </a:cxn>
                                  <a:cxn ang="0">
                                    <a:pos x="6" y="55"/>
                                  </a:cxn>
                                  <a:cxn ang="0">
                                    <a:pos x="6" y="50"/>
                                  </a:cxn>
                                  <a:cxn ang="0">
                                    <a:pos x="5" y="44"/>
                                  </a:cxn>
                                  <a:cxn ang="0">
                                    <a:pos x="7" y="39"/>
                                  </a:cxn>
                                  <a:cxn ang="0">
                                    <a:pos x="5" y="29"/>
                                  </a:cxn>
                                  <a:cxn ang="0">
                                    <a:pos x="10" y="23"/>
                                  </a:cxn>
                                  <a:cxn ang="0">
                                    <a:pos x="15" y="21"/>
                                  </a:cxn>
                                  <a:cxn ang="0">
                                    <a:pos x="20" y="18"/>
                                  </a:cxn>
                                  <a:cxn ang="0">
                                    <a:pos x="24" y="17"/>
                                  </a:cxn>
                                  <a:cxn ang="0">
                                    <a:pos x="30" y="15"/>
                                  </a:cxn>
                                  <a:cxn ang="0">
                                    <a:pos x="37" y="13"/>
                                  </a:cxn>
                                  <a:cxn ang="0">
                                    <a:pos x="42" y="8"/>
                                  </a:cxn>
                                  <a:cxn ang="0">
                                    <a:pos x="48" y="3"/>
                                  </a:cxn>
                                  <a:cxn ang="0">
                                    <a:pos x="53" y="0"/>
                                  </a:cxn>
                                  <a:cxn ang="0">
                                    <a:pos x="57" y="1"/>
                                  </a:cxn>
                                  <a:cxn ang="0">
                                    <a:pos x="62" y="3"/>
                                  </a:cxn>
                                  <a:cxn ang="0">
                                    <a:pos x="70" y="6"/>
                                  </a:cxn>
                                  <a:cxn ang="0">
                                    <a:pos x="73" y="7"/>
                                  </a:cxn>
                                  <a:cxn ang="0">
                                    <a:pos x="78" y="3"/>
                                  </a:cxn>
                                  <a:cxn ang="0">
                                    <a:pos x="82" y="1"/>
                                  </a:cxn>
                                  <a:cxn ang="0">
                                    <a:pos x="85" y="5"/>
                                  </a:cxn>
                                  <a:cxn ang="0">
                                    <a:pos x="86" y="12"/>
                                  </a:cxn>
                                  <a:cxn ang="0">
                                    <a:pos x="89" y="19"/>
                                  </a:cxn>
                                  <a:cxn ang="0">
                                    <a:pos x="88" y="30"/>
                                  </a:cxn>
                                  <a:cxn ang="0">
                                    <a:pos x="92" y="37"/>
                                  </a:cxn>
                                  <a:cxn ang="0">
                                    <a:pos x="103" y="36"/>
                                  </a:cxn>
                                  <a:cxn ang="0">
                                    <a:pos x="107" y="33"/>
                                  </a:cxn>
                                  <a:cxn ang="0">
                                    <a:pos x="110" y="31"/>
                                  </a:cxn>
                                  <a:cxn ang="0">
                                    <a:pos x="114" y="41"/>
                                  </a:cxn>
                                  <a:cxn ang="0">
                                    <a:pos x="119" y="42"/>
                                  </a:cxn>
                                  <a:cxn ang="0">
                                    <a:pos x="121" y="38"/>
                                  </a:cxn>
                                  <a:cxn ang="0">
                                    <a:pos x="127" y="38"/>
                                  </a:cxn>
                                  <a:cxn ang="0">
                                    <a:pos x="131" y="41"/>
                                  </a:cxn>
                                  <a:cxn ang="0">
                                    <a:pos x="135" y="40"/>
                                  </a:cxn>
                                  <a:cxn ang="0">
                                    <a:pos x="139" y="39"/>
                                  </a:cxn>
                                </a:cxnLst>
                                <a:rect l="0" t="0" r="r" b="b"/>
                                <a:pathLst>
                                  <a:path w="139" h="90">
                                    <a:moveTo>
                                      <a:pt x="139" y="40"/>
                                    </a:moveTo>
                                    <a:lnTo>
                                      <a:pt x="139" y="40"/>
                                    </a:lnTo>
                                    <a:lnTo>
                                      <a:pt x="139" y="40"/>
                                    </a:lnTo>
                                    <a:lnTo>
                                      <a:pt x="139" y="41"/>
                                    </a:lnTo>
                                    <a:lnTo>
                                      <a:pt x="139" y="41"/>
                                    </a:lnTo>
                                    <a:lnTo>
                                      <a:pt x="138" y="41"/>
                                    </a:lnTo>
                                    <a:lnTo>
                                      <a:pt x="137" y="41"/>
                                    </a:lnTo>
                                    <a:lnTo>
                                      <a:pt x="136" y="42"/>
                                    </a:lnTo>
                                    <a:lnTo>
                                      <a:pt x="135" y="42"/>
                                    </a:lnTo>
                                    <a:lnTo>
                                      <a:pt x="135" y="43"/>
                                    </a:lnTo>
                                    <a:lnTo>
                                      <a:pt x="134" y="43"/>
                                    </a:lnTo>
                                    <a:lnTo>
                                      <a:pt x="134" y="44"/>
                                    </a:lnTo>
                                    <a:lnTo>
                                      <a:pt x="134" y="44"/>
                                    </a:lnTo>
                                    <a:lnTo>
                                      <a:pt x="133" y="44"/>
                                    </a:lnTo>
                                    <a:lnTo>
                                      <a:pt x="133" y="44"/>
                                    </a:lnTo>
                                    <a:lnTo>
                                      <a:pt x="133" y="45"/>
                                    </a:lnTo>
                                    <a:lnTo>
                                      <a:pt x="132" y="45"/>
                                    </a:lnTo>
                                    <a:lnTo>
                                      <a:pt x="132" y="45"/>
                                    </a:lnTo>
                                    <a:lnTo>
                                      <a:pt x="132" y="46"/>
                                    </a:lnTo>
                                    <a:lnTo>
                                      <a:pt x="132" y="46"/>
                                    </a:lnTo>
                                    <a:lnTo>
                                      <a:pt x="132" y="47"/>
                                    </a:lnTo>
                                    <a:lnTo>
                                      <a:pt x="132" y="47"/>
                                    </a:lnTo>
                                    <a:lnTo>
                                      <a:pt x="132" y="48"/>
                                    </a:lnTo>
                                    <a:lnTo>
                                      <a:pt x="132" y="48"/>
                                    </a:lnTo>
                                    <a:lnTo>
                                      <a:pt x="132" y="48"/>
                                    </a:lnTo>
                                    <a:lnTo>
                                      <a:pt x="131" y="48"/>
                                    </a:lnTo>
                                    <a:lnTo>
                                      <a:pt x="131" y="48"/>
                                    </a:lnTo>
                                    <a:lnTo>
                                      <a:pt x="131" y="48"/>
                                    </a:lnTo>
                                    <a:lnTo>
                                      <a:pt x="131" y="49"/>
                                    </a:lnTo>
                                    <a:lnTo>
                                      <a:pt x="130" y="49"/>
                                    </a:lnTo>
                                    <a:lnTo>
                                      <a:pt x="130" y="50"/>
                                    </a:lnTo>
                                    <a:lnTo>
                                      <a:pt x="130" y="50"/>
                                    </a:lnTo>
                                    <a:lnTo>
                                      <a:pt x="131" y="51"/>
                                    </a:lnTo>
                                    <a:lnTo>
                                      <a:pt x="131" y="52"/>
                                    </a:lnTo>
                                    <a:lnTo>
                                      <a:pt x="131" y="52"/>
                                    </a:lnTo>
                                    <a:lnTo>
                                      <a:pt x="131" y="53"/>
                                    </a:lnTo>
                                    <a:lnTo>
                                      <a:pt x="132" y="53"/>
                                    </a:lnTo>
                                    <a:lnTo>
                                      <a:pt x="132" y="53"/>
                                    </a:lnTo>
                                    <a:lnTo>
                                      <a:pt x="132" y="53"/>
                                    </a:lnTo>
                                    <a:lnTo>
                                      <a:pt x="133" y="53"/>
                                    </a:lnTo>
                                    <a:lnTo>
                                      <a:pt x="133" y="53"/>
                                    </a:lnTo>
                                    <a:lnTo>
                                      <a:pt x="134" y="53"/>
                                    </a:lnTo>
                                    <a:lnTo>
                                      <a:pt x="134" y="53"/>
                                    </a:lnTo>
                                    <a:lnTo>
                                      <a:pt x="135" y="53"/>
                                    </a:lnTo>
                                    <a:lnTo>
                                      <a:pt x="135" y="53"/>
                                    </a:lnTo>
                                    <a:lnTo>
                                      <a:pt x="135" y="53"/>
                                    </a:lnTo>
                                    <a:lnTo>
                                      <a:pt x="136" y="53"/>
                                    </a:lnTo>
                                    <a:lnTo>
                                      <a:pt x="136" y="54"/>
                                    </a:lnTo>
                                    <a:lnTo>
                                      <a:pt x="136" y="54"/>
                                    </a:lnTo>
                                    <a:lnTo>
                                      <a:pt x="137" y="55"/>
                                    </a:lnTo>
                                    <a:lnTo>
                                      <a:pt x="137" y="55"/>
                                    </a:lnTo>
                                    <a:lnTo>
                                      <a:pt x="137" y="55"/>
                                    </a:lnTo>
                                    <a:lnTo>
                                      <a:pt x="137" y="56"/>
                                    </a:lnTo>
                                    <a:lnTo>
                                      <a:pt x="137" y="56"/>
                                    </a:lnTo>
                                    <a:lnTo>
                                      <a:pt x="137" y="57"/>
                                    </a:lnTo>
                                    <a:lnTo>
                                      <a:pt x="137" y="57"/>
                                    </a:lnTo>
                                    <a:lnTo>
                                      <a:pt x="137" y="58"/>
                                    </a:lnTo>
                                    <a:lnTo>
                                      <a:pt x="136" y="59"/>
                                    </a:lnTo>
                                    <a:lnTo>
                                      <a:pt x="136" y="59"/>
                                    </a:lnTo>
                                    <a:lnTo>
                                      <a:pt x="135" y="60"/>
                                    </a:lnTo>
                                    <a:lnTo>
                                      <a:pt x="135" y="61"/>
                                    </a:lnTo>
                                    <a:lnTo>
                                      <a:pt x="135" y="61"/>
                                    </a:lnTo>
                                    <a:lnTo>
                                      <a:pt x="134" y="62"/>
                                    </a:lnTo>
                                    <a:lnTo>
                                      <a:pt x="134" y="63"/>
                                    </a:lnTo>
                                    <a:lnTo>
                                      <a:pt x="134" y="64"/>
                                    </a:lnTo>
                                    <a:lnTo>
                                      <a:pt x="134" y="64"/>
                                    </a:lnTo>
                                    <a:lnTo>
                                      <a:pt x="134" y="65"/>
                                    </a:lnTo>
                                    <a:lnTo>
                                      <a:pt x="134" y="66"/>
                                    </a:lnTo>
                                    <a:lnTo>
                                      <a:pt x="134" y="66"/>
                                    </a:lnTo>
                                    <a:lnTo>
                                      <a:pt x="135" y="67"/>
                                    </a:lnTo>
                                    <a:lnTo>
                                      <a:pt x="136" y="67"/>
                                    </a:lnTo>
                                    <a:lnTo>
                                      <a:pt x="137" y="67"/>
                                    </a:lnTo>
                                    <a:lnTo>
                                      <a:pt x="137" y="68"/>
                                    </a:lnTo>
                                    <a:lnTo>
                                      <a:pt x="138" y="68"/>
                                    </a:lnTo>
                                    <a:lnTo>
                                      <a:pt x="138" y="68"/>
                                    </a:lnTo>
                                    <a:lnTo>
                                      <a:pt x="138" y="69"/>
                                    </a:lnTo>
                                    <a:lnTo>
                                      <a:pt x="139" y="69"/>
                                    </a:lnTo>
                                    <a:lnTo>
                                      <a:pt x="139" y="70"/>
                                    </a:lnTo>
                                    <a:lnTo>
                                      <a:pt x="139" y="70"/>
                                    </a:lnTo>
                                    <a:lnTo>
                                      <a:pt x="139" y="71"/>
                                    </a:lnTo>
                                    <a:lnTo>
                                      <a:pt x="139" y="72"/>
                                    </a:lnTo>
                                    <a:lnTo>
                                      <a:pt x="139" y="73"/>
                                    </a:lnTo>
                                    <a:lnTo>
                                      <a:pt x="139" y="73"/>
                                    </a:lnTo>
                                    <a:lnTo>
                                      <a:pt x="139" y="74"/>
                                    </a:lnTo>
                                    <a:lnTo>
                                      <a:pt x="139" y="74"/>
                                    </a:lnTo>
                                    <a:lnTo>
                                      <a:pt x="139" y="74"/>
                                    </a:lnTo>
                                    <a:lnTo>
                                      <a:pt x="137" y="75"/>
                                    </a:lnTo>
                                    <a:lnTo>
                                      <a:pt x="136" y="75"/>
                                    </a:lnTo>
                                    <a:lnTo>
                                      <a:pt x="135" y="75"/>
                                    </a:lnTo>
                                    <a:lnTo>
                                      <a:pt x="134" y="74"/>
                                    </a:lnTo>
                                    <a:lnTo>
                                      <a:pt x="133" y="74"/>
                                    </a:lnTo>
                                    <a:lnTo>
                                      <a:pt x="132" y="74"/>
                                    </a:lnTo>
                                    <a:lnTo>
                                      <a:pt x="131" y="73"/>
                                    </a:lnTo>
                                    <a:lnTo>
                                      <a:pt x="130" y="73"/>
                                    </a:lnTo>
                                    <a:lnTo>
                                      <a:pt x="129" y="72"/>
                                    </a:lnTo>
                                    <a:lnTo>
                                      <a:pt x="128" y="71"/>
                                    </a:lnTo>
                                    <a:lnTo>
                                      <a:pt x="127" y="70"/>
                                    </a:lnTo>
                                    <a:lnTo>
                                      <a:pt x="125" y="69"/>
                                    </a:lnTo>
                                    <a:lnTo>
                                      <a:pt x="125" y="68"/>
                                    </a:lnTo>
                                    <a:lnTo>
                                      <a:pt x="124" y="68"/>
                                    </a:lnTo>
                                    <a:lnTo>
                                      <a:pt x="124" y="67"/>
                                    </a:lnTo>
                                    <a:lnTo>
                                      <a:pt x="124" y="67"/>
                                    </a:lnTo>
                                    <a:lnTo>
                                      <a:pt x="123" y="67"/>
                                    </a:lnTo>
                                    <a:lnTo>
                                      <a:pt x="123" y="67"/>
                                    </a:lnTo>
                                    <a:lnTo>
                                      <a:pt x="123" y="67"/>
                                    </a:lnTo>
                                    <a:lnTo>
                                      <a:pt x="123" y="67"/>
                                    </a:lnTo>
                                    <a:lnTo>
                                      <a:pt x="123" y="67"/>
                                    </a:lnTo>
                                    <a:lnTo>
                                      <a:pt x="123" y="67"/>
                                    </a:lnTo>
                                    <a:lnTo>
                                      <a:pt x="123" y="67"/>
                                    </a:lnTo>
                                    <a:lnTo>
                                      <a:pt x="122" y="67"/>
                                    </a:lnTo>
                                    <a:lnTo>
                                      <a:pt x="122" y="67"/>
                                    </a:lnTo>
                                    <a:lnTo>
                                      <a:pt x="122" y="68"/>
                                    </a:lnTo>
                                    <a:lnTo>
                                      <a:pt x="120" y="68"/>
                                    </a:lnTo>
                                    <a:lnTo>
                                      <a:pt x="119" y="68"/>
                                    </a:lnTo>
                                    <a:lnTo>
                                      <a:pt x="117" y="68"/>
                                    </a:lnTo>
                                    <a:lnTo>
                                      <a:pt x="115" y="68"/>
                                    </a:lnTo>
                                    <a:lnTo>
                                      <a:pt x="115" y="68"/>
                                    </a:lnTo>
                                    <a:lnTo>
                                      <a:pt x="114" y="68"/>
                                    </a:lnTo>
                                    <a:lnTo>
                                      <a:pt x="114" y="68"/>
                                    </a:lnTo>
                                    <a:lnTo>
                                      <a:pt x="114" y="68"/>
                                    </a:lnTo>
                                    <a:lnTo>
                                      <a:pt x="114" y="68"/>
                                    </a:lnTo>
                                    <a:lnTo>
                                      <a:pt x="114" y="69"/>
                                    </a:lnTo>
                                    <a:lnTo>
                                      <a:pt x="114" y="70"/>
                                    </a:lnTo>
                                    <a:lnTo>
                                      <a:pt x="112" y="70"/>
                                    </a:lnTo>
                                    <a:lnTo>
                                      <a:pt x="110" y="70"/>
                                    </a:lnTo>
                                    <a:lnTo>
                                      <a:pt x="109" y="70"/>
                                    </a:lnTo>
                                    <a:lnTo>
                                      <a:pt x="107" y="70"/>
                                    </a:lnTo>
                                    <a:lnTo>
                                      <a:pt x="107" y="68"/>
                                    </a:lnTo>
                                    <a:lnTo>
                                      <a:pt x="107" y="67"/>
                                    </a:lnTo>
                                    <a:lnTo>
                                      <a:pt x="107" y="66"/>
                                    </a:lnTo>
                                    <a:lnTo>
                                      <a:pt x="106" y="65"/>
                                    </a:lnTo>
                                    <a:lnTo>
                                      <a:pt x="106" y="65"/>
                                    </a:lnTo>
                                    <a:lnTo>
                                      <a:pt x="105" y="64"/>
                                    </a:lnTo>
                                    <a:lnTo>
                                      <a:pt x="105" y="63"/>
                                    </a:lnTo>
                                    <a:lnTo>
                                      <a:pt x="104" y="63"/>
                                    </a:lnTo>
                                    <a:lnTo>
                                      <a:pt x="104" y="62"/>
                                    </a:lnTo>
                                    <a:lnTo>
                                      <a:pt x="103" y="62"/>
                                    </a:lnTo>
                                    <a:lnTo>
                                      <a:pt x="102" y="61"/>
                                    </a:lnTo>
                                    <a:lnTo>
                                      <a:pt x="101" y="61"/>
                                    </a:lnTo>
                                    <a:lnTo>
                                      <a:pt x="101" y="60"/>
                                    </a:lnTo>
                                    <a:lnTo>
                                      <a:pt x="100" y="60"/>
                                    </a:lnTo>
                                    <a:lnTo>
                                      <a:pt x="98" y="60"/>
                                    </a:lnTo>
                                    <a:lnTo>
                                      <a:pt x="96" y="59"/>
                                    </a:lnTo>
                                    <a:lnTo>
                                      <a:pt x="94" y="59"/>
                                    </a:lnTo>
                                    <a:lnTo>
                                      <a:pt x="92" y="59"/>
                                    </a:lnTo>
                                    <a:lnTo>
                                      <a:pt x="89" y="59"/>
                                    </a:lnTo>
                                    <a:lnTo>
                                      <a:pt x="85" y="58"/>
                                    </a:lnTo>
                                    <a:lnTo>
                                      <a:pt x="83" y="58"/>
                                    </a:lnTo>
                                    <a:lnTo>
                                      <a:pt x="80" y="58"/>
                                    </a:lnTo>
                                    <a:lnTo>
                                      <a:pt x="80" y="58"/>
                                    </a:lnTo>
                                    <a:lnTo>
                                      <a:pt x="80" y="58"/>
                                    </a:lnTo>
                                    <a:lnTo>
                                      <a:pt x="79" y="58"/>
                                    </a:lnTo>
                                    <a:lnTo>
                                      <a:pt x="79" y="58"/>
                                    </a:lnTo>
                                    <a:lnTo>
                                      <a:pt x="78" y="57"/>
                                    </a:lnTo>
                                    <a:lnTo>
                                      <a:pt x="77" y="57"/>
                                    </a:lnTo>
                                    <a:lnTo>
                                      <a:pt x="76" y="56"/>
                                    </a:lnTo>
                                    <a:lnTo>
                                      <a:pt x="75" y="55"/>
                                    </a:lnTo>
                                    <a:lnTo>
                                      <a:pt x="74" y="55"/>
                                    </a:lnTo>
                                    <a:lnTo>
                                      <a:pt x="73" y="54"/>
                                    </a:lnTo>
                                    <a:lnTo>
                                      <a:pt x="72" y="53"/>
                                    </a:lnTo>
                                    <a:lnTo>
                                      <a:pt x="72" y="52"/>
                                    </a:lnTo>
                                    <a:lnTo>
                                      <a:pt x="71" y="52"/>
                                    </a:lnTo>
                                    <a:lnTo>
                                      <a:pt x="70" y="51"/>
                                    </a:lnTo>
                                    <a:lnTo>
                                      <a:pt x="69" y="50"/>
                                    </a:lnTo>
                                    <a:lnTo>
                                      <a:pt x="68" y="50"/>
                                    </a:lnTo>
                                    <a:lnTo>
                                      <a:pt x="67" y="50"/>
                                    </a:lnTo>
                                    <a:lnTo>
                                      <a:pt x="66" y="49"/>
                                    </a:lnTo>
                                    <a:lnTo>
                                      <a:pt x="65" y="49"/>
                                    </a:lnTo>
                                    <a:lnTo>
                                      <a:pt x="65" y="49"/>
                                    </a:lnTo>
                                    <a:lnTo>
                                      <a:pt x="64" y="49"/>
                                    </a:lnTo>
                                    <a:lnTo>
                                      <a:pt x="63" y="49"/>
                                    </a:lnTo>
                                    <a:lnTo>
                                      <a:pt x="62" y="50"/>
                                    </a:lnTo>
                                    <a:lnTo>
                                      <a:pt x="62" y="49"/>
                                    </a:lnTo>
                                    <a:lnTo>
                                      <a:pt x="61" y="50"/>
                                    </a:lnTo>
                                    <a:lnTo>
                                      <a:pt x="61" y="50"/>
                                    </a:lnTo>
                                    <a:lnTo>
                                      <a:pt x="61" y="50"/>
                                    </a:lnTo>
                                    <a:lnTo>
                                      <a:pt x="61" y="50"/>
                                    </a:lnTo>
                                    <a:lnTo>
                                      <a:pt x="60" y="51"/>
                                    </a:lnTo>
                                    <a:lnTo>
                                      <a:pt x="60" y="51"/>
                                    </a:lnTo>
                                    <a:lnTo>
                                      <a:pt x="59" y="51"/>
                                    </a:lnTo>
                                    <a:lnTo>
                                      <a:pt x="57" y="51"/>
                                    </a:lnTo>
                                    <a:lnTo>
                                      <a:pt x="56" y="51"/>
                                    </a:lnTo>
                                    <a:lnTo>
                                      <a:pt x="54" y="51"/>
                                    </a:lnTo>
                                    <a:lnTo>
                                      <a:pt x="53" y="51"/>
                                    </a:lnTo>
                                    <a:lnTo>
                                      <a:pt x="52" y="51"/>
                                    </a:lnTo>
                                    <a:lnTo>
                                      <a:pt x="50" y="51"/>
                                    </a:lnTo>
                                    <a:lnTo>
                                      <a:pt x="49" y="52"/>
                                    </a:lnTo>
                                    <a:lnTo>
                                      <a:pt x="48" y="52"/>
                                    </a:lnTo>
                                    <a:lnTo>
                                      <a:pt x="47" y="52"/>
                                    </a:lnTo>
                                    <a:lnTo>
                                      <a:pt x="46" y="53"/>
                                    </a:lnTo>
                                    <a:lnTo>
                                      <a:pt x="45" y="53"/>
                                    </a:lnTo>
                                    <a:lnTo>
                                      <a:pt x="44" y="54"/>
                                    </a:lnTo>
                                    <a:lnTo>
                                      <a:pt x="44" y="55"/>
                                    </a:lnTo>
                                    <a:lnTo>
                                      <a:pt x="43" y="55"/>
                                    </a:lnTo>
                                    <a:lnTo>
                                      <a:pt x="42" y="56"/>
                                    </a:lnTo>
                                    <a:lnTo>
                                      <a:pt x="42" y="57"/>
                                    </a:lnTo>
                                    <a:lnTo>
                                      <a:pt x="42" y="58"/>
                                    </a:lnTo>
                                    <a:lnTo>
                                      <a:pt x="42" y="59"/>
                                    </a:lnTo>
                                    <a:lnTo>
                                      <a:pt x="42" y="60"/>
                                    </a:lnTo>
                                    <a:lnTo>
                                      <a:pt x="42" y="60"/>
                                    </a:lnTo>
                                    <a:lnTo>
                                      <a:pt x="42" y="60"/>
                                    </a:lnTo>
                                    <a:lnTo>
                                      <a:pt x="41" y="60"/>
                                    </a:lnTo>
                                    <a:lnTo>
                                      <a:pt x="41" y="60"/>
                                    </a:lnTo>
                                    <a:lnTo>
                                      <a:pt x="41" y="60"/>
                                    </a:lnTo>
                                    <a:lnTo>
                                      <a:pt x="41" y="60"/>
                                    </a:lnTo>
                                    <a:lnTo>
                                      <a:pt x="41" y="60"/>
                                    </a:lnTo>
                                    <a:lnTo>
                                      <a:pt x="41" y="61"/>
                                    </a:lnTo>
                                    <a:lnTo>
                                      <a:pt x="41" y="61"/>
                                    </a:lnTo>
                                    <a:lnTo>
                                      <a:pt x="42" y="61"/>
                                    </a:lnTo>
                                    <a:lnTo>
                                      <a:pt x="42" y="61"/>
                                    </a:lnTo>
                                    <a:lnTo>
                                      <a:pt x="42" y="61"/>
                                    </a:lnTo>
                                    <a:lnTo>
                                      <a:pt x="42" y="62"/>
                                    </a:lnTo>
                                    <a:lnTo>
                                      <a:pt x="42" y="62"/>
                                    </a:lnTo>
                                    <a:lnTo>
                                      <a:pt x="42" y="63"/>
                                    </a:lnTo>
                                    <a:lnTo>
                                      <a:pt x="42" y="64"/>
                                    </a:lnTo>
                                    <a:lnTo>
                                      <a:pt x="42" y="65"/>
                                    </a:lnTo>
                                    <a:lnTo>
                                      <a:pt x="42" y="66"/>
                                    </a:lnTo>
                                    <a:lnTo>
                                      <a:pt x="42" y="67"/>
                                    </a:lnTo>
                                    <a:lnTo>
                                      <a:pt x="43" y="67"/>
                                    </a:lnTo>
                                    <a:lnTo>
                                      <a:pt x="43" y="68"/>
                                    </a:lnTo>
                                    <a:lnTo>
                                      <a:pt x="44" y="69"/>
                                    </a:lnTo>
                                    <a:lnTo>
                                      <a:pt x="44" y="69"/>
                                    </a:lnTo>
                                    <a:lnTo>
                                      <a:pt x="45" y="70"/>
                                    </a:lnTo>
                                    <a:lnTo>
                                      <a:pt x="45" y="71"/>
                                    </a:lnTo>
                                    <a:lnTo>
                                      <a:pt x="45" y="71"/>
                                    </a:lnTo>
                                    <a:lnTo>
                                      <a:pt x="45" y="72"/>
                                    </a:lnTo>
                                    <a:lnTo>
                                      <a:pt x="45" y="73"/>
                                    </a:lnTo>
                                    <a:lnTo>
                                      <a:pt x="45" y="73"/>
                                    </a:lnTo>
                                    <a:lnTo>
                                      <a:pt x="45" y="74"/>
                                    </a:lnTo>
                                    <a:lnTo>
                                      <a:pt x="45" y="74"/>
                                    </a:lnTo>
                                    <a:lnTo>
                                      <a:pt x="45" y="74"/>
                                    </a:lnTo>
                                    <a:lnTo>
                                      <a:pt x="43" y="76"/>
                                    </a:lnTo>
                                    <a:lnTo>
                                      <a:pt x="41" y="78"/>
                                    </a:lnTo>
                                    <a:lnTo>
                                      <a:pt x="39" y="80"/>
                                    </a:lnTo>
                                    <a:lnTo>
                                      <a:pt x="37" y="81"/>
                                    </a:lnTo>
                                    <a:lnTo>
                                      <a:pt x="36" y="82"/>
                                    </a:lnTo>
                                    <a:lnTo>
                                      <a:pt x="35" y="83"/>
                                    </a:lnTo>
                                    <a:lnTo>
                                      <a:pt x="34" y="83"/>
                                    </a:lnTo>
                                    <a:lnTo>
                                      <a:pt x="32" y="84"/>
                                    </a:lnTo>
                                    <a:lnTo>
                                      <a:pt x="31" y="85"/>
                                    </a:lnTo>
                                    <a:lnTo>
                                      <a:pt x="29" y="85"/>
                                    </a:lnTo>
                                    <a:lnTo>
                                      <a:pt x="27" y="85"/>
                                    </a:lnTo>
                                    <a:lnTo>
                                      <a:pt x="26" y="86"/>
                                    </a:lnTo>
                                    <a:lnTo>
                                      <a:pt x="24" y="86"/>
                                    </a:lnTo>
                                    <a:lnTo>
                                      <a:pt x="24" y="86"/>
                                    </a:lnTo>
                                    <a:lnTo>
                                      <a:pt x="24" y="85"/>
                                    </a:lnTo>
                                    <a:lnTo>
                                      <a:pt x="24" y="85"/>
                                    </a:lnTo>
                                    <a:lnTo>
                                      <a:pt x="23" y="85"/>
                                    </a:lnTo>
                                    <a:lnTo>
                                      <a:pt x="23" y="85"/>
                                    </a:lnTo>
                                    <a:lnTo>
                                      <a:pt x="23" y="85"/>
                                    </a:lnTo>
                                    <a:lnTo>
                                      <a:pt x="23" y="85"/>
                                    </a:lnTo>
                                    <a:lnTo>
                                      <a:pt x="23" y="85"/>
                                    </a:lnTo>
                                    <a:lnTo>
                                      <a:pt x="23" y="85"/>
                                    </a:lnTo>
                                    <a:lnTo>
                                      <a:pt x="22" y="85"/>
                                    </a:lnTo>
                                    <a:lnTo>
                                      <a:pt x="22" y="86"/>
                                    </a:lnTo>
                                    <a:lnTo>
                                      <a:pt x="22" y="86"/>
                                    </a:lnTo>
                                    <a:lnTo>
                                      <a:pt x="21" y="86"/>
                                    </a:lnTo>
                                    <a:lnTo>
                                      <a:pt x="21" y="87"/>
                                    </a:lnTo>
                                    <a:lnTo>
                                      <a:pt x="19" y="87"/>
                                    </a:lnTo>
                                    <a:lnTo>
                                      <a:pt x="18" y="88"/>
                                    </a:lnTo>
                                    <a:lnTo>
                                      <a:pt x="17" y="88"/>
                                    </a:lnTo>
                                    <a:lnTo>
                                      <a:pt x="16" y="89"/>
                                    </a:lnTo>
                                    <a:lnTo>
                                      <a:pt x="15" y="89"/>
                                    </a:lnTo>
                                    <a:lnTo>
                                      <a:pt x="14" y="89"/>
                                    </a:lnTo>
                                    <a:lnTo>
                                      <a:pt x="13" y="90"/>
                                    </a:lnTo>
                                    <a:lnTo>
                                      <a:pt x="12" y="90"/>
                                    </a:lnTo>
                                    <a:lnTo>
                                      <a:pt x="11" y="90"/>
                                    </a:lnTo>
                                    <a:lnTo>
                                      <a:pt x="10" y="90"/>
                                    </a:lnTo>
                                    <a:lnTo>
                                      <a:pt x="9" y="90"/>
                                    </a:lnTo>
                                    <a:lnTo>
                                      <a:pt x="7" y="90"/>
                                    </a:lnTo>
                                    <a:lnTo>
                                      <a:pt x="7" y="90"/>
                                    </a:lnTo>
                                    <a:lnTo>
                                      <a:pt x="6" y="90"/>
                                    </a:lnTo>
                                    <a:lnTo>
                                      <a:pt x="5" y="90"/>
                                    </a:lnTo>
                                    <a:lnTo>
                                      <a:pt x="4" y="90"/>
                                    </a:lnTo>
                                    <a:lnTo>
                                      <a:pt x="3" y="90"/>
                                    </a:lnTo>
                                    <a:lnTo>
                                      <a:pt x="2" y="89"/>
                                    </a:lnTo>
                                    <a:lnTo>
                                      <a:pt x="2" y="89"/>
                                    </a:lnTo>
                                    <a:lnTo>
                                      <a:pt x="1" y="88"/>
                                    </a:lnTo>
                                    <a:lnTo>
                                      <a:pt x="1" y="87"/>
                                    </a:lnTo>
                                    <a:lnTo>
                                      <a:pt x="1" y="86"/>
                                    </a:lnTo>
                                    <a:lnTo>
                                      <a:pt x="0" y="85"/>
                                    </a:lnTo>
                                    <a:lnTo>
                                      <a:pt x="0" y="84"/>
                                    </a:lnTo>
                                    <a:lnTo>
                                      <a:pt x="0" y="82"/>
                                    </a:lnTo>
                                    <a:lnTo>
                                      <a:pt x="0" y="81"/>
                                    </a:lnTo>
                                    <a:lnTo>
                                      <a:pt x="0" y="79"/>
                                    </a:lnTo>
                                    <a:lnTo>
                                      <a:pt x="1" y="76"/>
                                    </a:lnTo>
                                    <a:lnTo>
                                      <a:pt x="1" y="74"/>
                                    </a:lnTo>
                                    <a:lnTo>
                                      <a:pt x="1" y="72"/>
                                    </a:lnTo>
                                    <a:lnTo>
                                      <a:pt x="1" y="71"/>
                                    </a:lnTo>
                                    <a:lnTo>
                                      <a:pt x="1" y="71"/>
                                    </a:lnTo>
                                    <a:lnTo>
                                      <a:pt x="2" y="71"/>
                                    </a:lnTo>
                                    <a:lnTo>
                                      <a:pt x="2" y="71"/>
                                    </a:lnTo>
                                    <a:lnTo>
                                      <a:pt x="3" y="71"/>
                                    </a:lnTo>
                                    <a:lnTo>
                                      <a:pt x="3" y="71"/>
                                    </a:lnTo>
                                    <a:lnTo>
                                      <a:pt x="4" y="71"/>
                                    </a:lnTo>
                                    <a:lnTo>
                                      <a:pt x="5" y="71"/>
                                    </a:lnTo>
                                    <a:lnTo>
                                      <a:pt x="5" y="71"/>
                                    </a:lnTo>
                                    <a:lnTo>
                                      <a:pt x="6" y="70"/>
                                    </a:lnTo>
                                    <a:lnTo>
                                      <a:pt x="6" y="69"/>
                                    </a:lnTo>
                                    <a:lnTo>
                                      <a:pt x="7" y="68"/>
                                    </a:lnTo>
                                    <a:lnTo>
                                      <a:pt x="7" y="68"/>
                                    </a:lnTo>
                                    <a:lnTo>
                                      <a:pt x="7" y="67"/>
                                    </a:lnTo>
                                    <a:lnTo>
                                      <a:pt x="8" y="65"/>
                                    </a:lnTo>
                                    <a:lnTo>
                                      <a:pt x="8" y="63"/>
                                    </a:lnTo>
                                    <a:lnTo>
                                      <a:pt x="9" y="62"/>
                                    </a:lnTo>
                                    <a:lnTo>
                                      <a:pt x="9" y="61"/>
                                    </a:lnTo>
                                    <a:lnTo>
                                      <a:pt x="9" y="61"/>
                                    </a:lnTo>
                                    <a:lnTo>
                                      <a:pt x="9" y="60"/>
                                    </a:lnTo>
                                    <a:lnTo>
                                      <a:pt x="9" y="60"/>
                                    </a:lnTo>
                                    <a:lnTo>
                                      <a:pt x="8" y="59"/>
                                    </a:lnTo>
                                    <a:lnTo>
                                      <a:pt x="8" y="59"/>
                                    </a:lnTo>
                                    <a:lnTo>
                                      <a:pt x="7" y="59"/>
                                    </a:lnTo>
                                    <a:lnTo>
                                      <a:pt x="6" y="59"/>
                                    </a:lnTo>
                                    <a:lnTo>
                                      <a:pt x="5" y="58"/>
                                    </a:lnTo>
                                    <a:lnTo>
                                      <a:pt x="5" y="58"/>
                                    </a:lnTo>
                                    <a:lnTo>
                                      <a:pt x="5" y="58"/>
                                    </a:lnTo>
                                    <a:lnTo>
                                      <a:pt x="4" y="58"/>
                                    </a:lnTo>
                                    <a:lnTo>
                                      <a:pt x="4" y="57"/>
                                    </a:lnTo>
                                    <a:lnTo>
                                      <a:pt x="4" y="57"/>
                                    </a:lnTo>
                                    <a:lnTo>
                                      <a:pt x="4" y="56"/>
                                    </a:lnTo>
                                    <a:lnTo>
                                      <a:pt x="4" y="56"/>
                                    </a:lnTo>
                                    <a:lnTo>
                                      <a:pt x="5" y="56"/>
                                    </a:lnTo>
                                    <a:lnTo>
                                      <a:pt x="6" y="55"/>
                                    </a:lnTo>
                                    <a:lnTo>
                                      <a:pt x="6" y="55"/>
                                    </a:lnTo>
                                    <a:lnTo>
                                      <a:pt x="6" y="55"/>
                                    </a:lnTo>
                                    <a:lnTo>
                                      <a:pt x="7" y="54"/>
                                    </a:lnTo>
                                    <a:lnTo>
                                      <a:pt x="7" y="54"/>
                                    </a:lnTo>
                                    <a:lnTo>
                                      <a:pt x="7" y="54"/>
                                    </a:lnTo>
                                    <a:lnTo>
                                      <a:pt x="7" y="53"/>
                                    </a:lnTo>
                                    <a:lnTo>
                                      <a:pt x="7" y="53"/>
                                    </a:lnTo>
                                    <a:lnTo>
                                      <a:pt x="7" y="53"/>
                                    </a:lnTo>
                                    <a:lnTo>
                                      <a:pt x="7" y="52"/>
                                    </a:lnTo>
                                    <a:lnTo>
                                      <a:pt x="7" y="52"/>
                                    </a:lnTo>
                                    <a:lnTo>
                                      <a:pt x="7" y="51"/>
                                    </a:lnTo>
                                    <a:lnTo>
                                      <a:pt x="7" y="51"/>
                                    </a:lnTo>
                                    <a:lnTo>
                                      <a:pt x="6" y="50"/>
                                    </a:lnTo>
                                    <a:lnTo>
                                      <a:pt x="6" y="49"/>
                                    </a:lnTo>
                                    <a:lnTo>
                                      <a:pt x="5" y="48"/>
                                    </a:lnTo>
                                    <a:lnTo>
                                      <a:pt x="4" y="47"/>
                                    </a:lnTo>
                                    <a:lnTo>
                                      <a:pt x="4" y="47"/>
                                    </a:lnTo>
                                    <a:lnTo>
                                      <a:pt x="3" y="46"/>
                                    </a:lnTo>
                                    <a:lnTo>
                                      <a:pt x="3" y="45"/>
                                    </a:lnTo>
                                    <a:lnTo>
                                      <a:pt x="2" y="44"/>
                                    </a:lnTo>
                                    <a:lnTo>
                                      <a:pt x="3" y="45"/>
                                    </a:lnTo>
                                    <a:lnTo>
                                      <a:pt x="3" y="45"/>
                                    </a:lnTo>
                                    <a:lnTo>
                                      <a:pt x="4" y="44"/>
                                    </a:lnTo>
                                    <a:lnTo>
                                      <a:pt x="5" y="44"/>
                                    </a:lnTo>
                                    <a:lnTo>
                                      <a:pt x="5" y="44"/>
                                    </a:lnTo>
                                    <a:lnTo>
                                      <a:pt x="5" y="44"/>
                                    </a:lnTo>
                                    <a:lnTo>
                                      <a:pt x="6" y="44"/>
                                    </a:lnTo>
                                    <a:lnTo>
                                      <a:pt x="6" y="44"/>
                                    </a:lnTo>
                                    <a:lnTo>
                                      <a:pt x="6" y="43"/>
                                    </a:lnTo>
                                    <a:lnTo>
                                      <a:pt x="7" y="43"/>
                                    </a:lnTo>
                                    <a:lnTo>
                                      <a:pt x="7" y="42"/>
                                    </a:lnTo>
                                    <a:lnTo>
                                      <a:pt x="7" y="42"/>
                                    </a:lnTo>
                                    <a:lnTo>
                                      <a:pt x="7" y="41"/>
                                    </a:lnTo>
                                    <a:lnTo>
                                      <a:pt x="7" y="41"/>
                                    </a:lnTo>
                                    <a:lnTo>
                                      <a:pt x="7" y="40"/>
                                    </a:lnTo>
                                    <a:lnTo>
                                      <a:pt x="7" y="40"/>
                                    </a:lnTo>
                                    <a:lnTo>
                                      <a:pt x="7" y="39"/>
                                    </a:lnTo>
                                    <a:lnTo>
                                      <a:pt x="6" y="39"/>
                                    </a:lnTo>
                                    <a:lnTo>
                                      <a:pt x="6" y="38"/>
                                    </a:lnTo>
                                    <a:lnTo>
                                      <a:pt x="6" y="37"/>
                                    </a:lnTo>
                                    <a:lnTo>
                                      <a:pt x="6" y="37"/>
                                    </a:lnTo>
                                    <a:lnTo>
                                      <a:pt x="5" y="36"/>
                                    </a:lnTo>
                                    <a:lnTo>
                                      <a:pt x="5" y="35"/>
                                    </a:lnTo>
                                    <a:lnTo>
                                      <a:pt x="5" y="34"/>
                                    </a:lnTo>
                                    <a:lnTo>
                                      <a:pt x="5" y="33"/>
                                    </a:lnTo>
                                    <a:lnTo>
                                      <a:pt x="5" y="32"/>
                                    </a:lnTo>
                                    <a:lnTo>
                                      <a:pt x="5" y="31"/>
                                    </a:lnTo>
                                    <a:lnTo>
                                      <a:pt x="5" y="30"/>
                                    </a:lnTo>
                                    <a:lnTo>
                                      <a:pt x="5" y="29"/>
                                    </a:lnTo>
                                    <a:lnTo>
                                      <a:pt x="5" y="28"/>
                                    </a:lnTo>
                                    <a:lnTo>
                                      <a:pt x="5" y="27"/>
                                    </a:lnTo>
                                    <a:lnTo>
                                      <a:pt x="5" y="26"/>
                                    </a:lnTo>
                                    <a:lnTo>
                                      <a:pt x="5" y="25"/>
                                    </a:lnTo>
                                    <a:lnTo>
                                      <a:pt x="5" y="25"/>
                                    </a:lnTo>
                                    <a:lnTo>
                                      <a:pt x="4" y="24"/>
                                    </a:lnTo>
                                    <a:lnTo>
                                      <a:pt x="4" y="24"/>
                                    </a:lnTo>
                                    <a:lnTo>
                                      <a:pt x="4" y="23"/>
                                    </a:lnTo>
                                    <a:lnTo>
                                      <a:pt x="9" y="23"/>
                                    </a:lnTo>
                                    <a:lnTo>
                                      <a:pt x="9" y="23"/>
                                    </a:lnTo>
                                    <a:lnTo>
                                      <a:pt x="10" y="23"/>
                                    </a:lnTo>
                                    <a:lnTo>
                                      <a:pt x="10" y="23"/>
                                    </a:lnTo>
                                    <a:lnTo>
                                      <a:pt x="10" y="23"/>
                                    </a:lnTo>
                                    <a:lnTo>
                                      <a:pt x="10" y="22"/>
                                    </a:lnTo>
                                    <a:lnTo>
                                      <a:pt x="10" y="22"/>
                                    </a:lnTo>
                                    <a:lnTo>
                                      <a:pt x="11" y="22"/>
                                    </a:lnTo>
                                    <a:lnTo>
                                      <a:pt x="11" y="21"/>
                                    </a:lnTo>
                                    <a:lnTo>
                                      <a:pt x="11" y="21"/>
                                    </a:lnTo>
                                    <a:lnTo>
                                      <a:pt x="12" y="21"/>
                                    </a:lnTo>
                                    <a:lnTo>
                                      <a:pt x="13" y="21"/>
                                    </a:lnTo>
                                    <a:lnTo>
                                      <a:pt x="14" y="21"/>
                                    </a:lnTo>
                                    <a:lnTo>
                                      <a:pt x="14" y="21"/>
                                    </a:lnTo>
                                    <a:lnTo>
                                      <a:pt x="15" y="21"/>
                                    </a:lnTo>
                                    <a:lnTo>
                                      <a:pt x="15" y="21"/>
                                    </a:lnTo>
                                    <a:lnTo>
                                      <a:pt x="15" y="21"/>
                                    </a:lnTo>
                                    <a:lnTo>
                                      <a:pt x="15" y="21"/>
                                    </a:lnTo>
                                    <a:lnTo>
                                      <a:pt x="15" y="20"/>
                                    </a:lnTo>
                                    <a:lnTo>
                                      <a:pt x="15" y="20"/>
                                    </a:lnTo>
                                    <a:lnTo>
                                      <a:pt x="15" y="20"/>
                                    </a:lnTo>
                                    <a:lnTo>
                                      <a:pt x="16" y="20"/>
                                    </a:lnTo>
                                    <a:lnTo>
                                      <a:pt x="16" y="20"/>
                                    </a:lnTo>
                                    <a:lnTo>
                                      <a:pt x="17" y="20"/>
                                    </a:lnTo>
                                    <a:lnTo>
                                      <a:pt x="17" y="19"/>
                                    </a:lnTo>
                                    <a:lnTo>
                                      <a:pt x="18" y="19"/>
                                    </a:lnTo>
                                    <a:lnTo>
                                      <a:pt x="19" y="19"/>
                                    </a:lnTo>
                                    <a:lnTo>
                                      <a:pt x="20" y="18"/>
                                    </a:lnTo>
                                    <a:lnTo>
                                      <a:pt x="20" y="18"/>
                                    </a:lnTo>
                                    <a:lnTo>
                                      <a:pt x="21" y="18"/>
                                    </a:lnTo>
                                    <a:lnTo>
                                      <a:pt x="21" y="18"/>
                                    </a:lnTo>
                                    <a:lnTo>
                                      <a:pt x="22" y="18"/>
                                    </a:lnTo>
                                    <a:lnTo>
                                      <a:pt x="22" y="18"/>
                                    </a:lnTo>
                                    <a:lnTo>
                                      <a:pt x="23" y="18"/>
                                    </a:lnTo>
                                    <a:lnTo>
                                      <a:pt x="23" y="18"/>
                                    </a:lnTo>
                                    <a:lnTo>
                                      <a:pt x="23" y="18"/>
                                    </a:lnTo>
                                    <a:lnTo>
                                      <a:pt x="23" y="18"/>
                                    </a:lnTo>
                                    <a:lnTo>
                                      <a:pt x="24" y="17"/>
                                    </a:lnTo>
                                    <a:lnTo>
                                      <a:pt x="24" y="17"/>
                                    </a:lnTo>
                                    <a:lnTo>
                                      <a:pt x="24" y="17"/>
                                    </a:lnTo>
                                    <a:lnTo>
                                      <a:pt x="24" y="16"/>
                                    </a:lnTo>
                                    <a:lnTo>
                                      <a:pt x="24" y="16"/>
                                    </a:lnTo>
                                    <a:lnTo>
                                      <a:pt x="25" y="16"/>
                                    </a:lnTo>
                                    <a:lnTo>
                                      <a:pt x="25" y="16"/>
                                    </a:lnTo>
                                    <a:lnTo>
                                      <a:pt x="26" y="16"/>
                                    </a:lnTo>
                                    <a:lnTo>
                                      <a:pt x="26" y="16"/>
                                    </a:lnTo>
                                    <a:lnTo>
                                      <a:pt x="27" y="15"/>
                                    </a:lnTo>
                                    <a:lnTo>
                                      <a:pt x="28" y="15"/>
                                    </a:lnTo>
                                    <a:lnTo>
                                      <a:pt x="29" y="15"/>
                                    </a:lnTo>
                                    <a:lnTo>
                                      <a:pt x="29" y="15"/>
                                    </a:lnTo>
                                    <a:lnTo>
                                      <a:pt x="29" y="15"/>
                                    </a:lnTo>
                                    <a:lnTo>
                                      <a:pt x="30" y="15"/>
                                    </a:lnTo>
                                    <a:lnTo>
                                      <a:pt x="31" y="15"/>
                                    </a:lnTo>
                                    <a:lnTo>
                                      <a:pt x="32" y="15"/>
                                    </a:lnTo>
                                    <a:lnTo>
                                      <a:pt x="33" y="15"/>
                                    </a:lnTo>
                                    <a:lnTo>
                                      <a:pt x="34" y="15"/>
                                    </a:lnTo>
                                    <a:lnTo>
                                      <a:pt x="35" y="15"/>
                                    </a:lnTo>
                                    <a:lnTo>
                                      <a:pt x="36" y="15"/>
                                    </a:lnTo>
                                    <a:lnTo>
                                      <a:pt x="36" y="14"/>
                                    </a:lnTo>
                                    <a:lnTo>
                                      <a:pt x="36" y="14"/>
                                    </a:lnTo>
                                    <a:lnTo>
                                      <a:pt x="37" y="14"/>
                                    </a:lnTo>
                                    <a:lnTo>
                                      <a:pt x="37" y="14"/>
                                    </a:lnTo>
                                    <a:lnTo>
                                      <a:pt x="37" y="13"/>
                                    </a:lnTo>
                                    <a:lnTo>
                                      <a:pt x="37" y="13"/>
                                    </a:lnTo>
                                    <a:lnTo>
                                      <a:pt x="38" y="13"/>
                                    </a:lnTo>
                                    <a:lnTo>
                                      <a:pt x="38" y="13"/>
                                    </a:lnTo>
                                    <a:lnTo>
                                      <a:pt x="38" y="12"/>
                                    </a:lnTo>
                                    <a:lnTo>
                                      <a:pt x="39" y="12"/>
                                    </a:lnTo>
                                    <a:lnTo>
                                      <a:pt x="39" y="12"/>
                                    </a:lnTo>
                                    <a:lnTo>
                                      <a:pt x="39" y="11"/>
                                    </a:lnTo>
                                    <a:lnTo>
                                      <a:pt x="39" y="10"/>
                                    </a:lnTo>
                                    <a:lnTo>
                                      <a:pt x="39" y="10"/>
                                    </a:lnTo>
                                    <a:lnTo>
                                      <a:pt x="40" y="9"/>
                                    </a:lnTo>
                                    <a:lnTo>
                                      <a:pt x="40" y="9"/>
                                    </a:lnTo>
                                    <a:lnTo>
                                      <a:pt x="41" y="8"/>
                                    </a:lnTo>
                                    <a:lnTo>
                                      <a:pt x="42" y="8"/>
                                    </a:lnTo>
                                    <a:lnTo>
                                      <a:pt x="43" y="7"/>
                                    </a:lnTo>
                                    <a:lnTo>
                                      <a:pt x="43" y="6"/>
                                    </a:lnTo>
                                    <a:lnTo>
                                      <a:pt x="43" y="6"/>
                                    </a:lnTo>
                                    <a:lnTo>
                                      <a:pt x="44" y="5"/>
                                    </a:lnTo>
                                    <a:lnTo>
                                      <a:pt x="44" y="5"/>
                                    </a:lnTo>
                                    <a:lnTo>
                                      <a:pt x="45" y="4"/>
                                    </a:lnTo>
                                    <a:lnTo>
                                      <a:pt x="45" y="4"/>
                                    </a:lnTo>
                                    <a:lnTo>
                                      <a:pt x="46" y="4"/>
                                    </a:lnTo>
                                    <a:lnTo>
                                      <a:pt x="46" y="3"/>
                                    </a:lnTo>
                                    <a:lnTo>
                                      <a:pt x="47" y="3"/>
                                    </a:lnTo>
                                    <a:lnTo>
                                      <a:pt x="47" y="3"/>
                                    </a:lnTo>
                                    <a:lnTo>
                                      <a:pt x="48" y="3"/>
                                    </a:lnTo>
                                    <a:lnTo>
                                      <a:pt x="48" y="3"/>
                                    </a:lnTo>
                                    <a:lnTo>
                                      <a:pt x="48" y="3"/>
                                    </a:lnTo>
                                    <a:lnTo>
                                      <a:pt x="48" y="3"/>
                                    </a:lnTo>
                                    <a:lnTo>
                                      <a:pt x="49" y="2"/>
                                    </a:lnTo>
                                    <a:lnTo>
                                      <a:pt x="49" y="2"/>
                                    </a:lnTo>
                                    <a:lnTo>
                                      <a:pt x="49" y="2"/>
                                    </a:lnTo>
                                    <a:lnTo>
                                      <a:pt x="49" y="1"/>
                                    </a:lnTo>
                                    <a:lnTo>
                                      <a:pt x="50" y="1"/>
                                    </a:lnTo>
                                    <a:lnTo>
                                      <a:pt x="50" y="1"/>
                                    </a:lnTo>
                                    <a:lnTo>
                                      <a:pt x="51" y="0"/>
                                    </a:lnTo>
                                    <a:lnTo>
                                      <a:pt x="52" y="0"/>
                                    </a:lnTo>
                                    <a:lnTo>
                                      <a:pt x="53" y="0"/>
                                    </a:lnTo>
                                    <a:lnTo>
                                      <a:pt x="53" y="0"/>
                                    </a:lnTo>
                                    <a:lnTo>
                                      <a:pt x="54" y="0"/>
                                    </a:lnTo>
                                    <a:lnTo>
                                      <a:pt x="54" y="0"/>
                                    </a:lnTo>
                                    <a:lnTo>
                                      <a:pt x="55" y="0"/>
                                    </a:lnTo>
                                    <a:lnTo>
                                      <a:pt x="55" y="0"/>
                                    </a:lnTo>
                                    <a:lnTo>
                                      <a:pt x="55" y="0"/>
                                    </a:lnTo>
                                    <a:lnTo>
                                      <a:pt x="55" y="1"/>
                                    </a:lnTo>
                                    <a:lnTo>
                                      <a:pt x="56" y="1"/>
                                    </a:lnTo>
                                    <a:lnTo>
                                      <a:pt x="56" y="1"/>
                                    </a:lnTo>
                                    <a:lnTo>
                                      <a:pt x="56" y="1"/>
                                    </a:lnTo>
                                    <a:lnTo>
                                      <a:pt x="56" y="1"/>
                                    </a:lnTo>
                                    <a:lnTo>
                                      <a:pt x="57" y="1"/>
                                    </a:lnTo>
                                    <a:lnTo>
                                      <a:pt x="57" y="1"/>
                                    </a:lnTo>
                                    <a:lnTo>
                                      <a:pt x="58" y="1"/>
                                    </a:lnTo>
                                    <a:lnTo>
                                      <a:pt x="59" y="1"/>
                                    </a:lnTo>
                                    <a:lnTo>
                                      <a:pt x="60" y="1"/>
                                    </a:lnTo>
                                    <a:lnTo>
                                      <a:pt x="60" y="1"/>
                                    </a:lnTo>
                                    <a:lnTo>
                                      <a:pt x="60" y="2"/>
                                    </a:lnTo>
                                    <a:lnTo>
                                      <a:pt x="60" y="2"/>
                                    </a:lnTo>
                                    <a:lnTo>
                                      <a:pt x="60" y="2"/>
                                    </a:lnTo>
                                    <a:lnTo>
                                      <a:pt x="61" y="3"/>
                                    </a:lnTo>
                                    <a:lnTo>
                                      <a:pt x="61" y="3"/>
                                    </a:lnTo>
                                    <a:lnTo>
                                      <a:pt x="61" y="3"/>
                                    </a:lnTo>
                                    <a:lnTo>
                                      <a:pt x="62" y="3"/>
                                    </a:lnTo>
                                    <a:lnTo>
                                      <a:pt x="62" y="3"/>
                                    </a:lnTo>
                                    <a:lnTo>
                                      <a:pt x="63" y="3"/>
                                    </a:lnTo>
                                    <a:lnTo>
                                      <a:pt x="64" y="3"/>
                                    </a:lnTo>
                                    <a:lnTo>
                                      <a:pt x="65" y="3"/>
                                    </a:lnTo>
                                    <a:lnTo>
                                      <a:pt x="65" y="3"/>
                                    </a:lnTo>
                                    <a:lnTo>
                                      <a:pt x="66" y="4"/>
                                    </a:lnTo>
                                    <a:lnTo>
                                      <a:pt x="66" y="4"/>
                                    </a:lnTo>
                                    <a:lnTo>
                                      <a:pt x="67" y="5"/>
                                    </a:lnTo>
                                    <a:lnTo>
                                      <a:pt x="68" y="5"/>
                                    </a:lnTo>
                                    <a:lnTo>
                                      <a:pt x="69" y="6"/>
                                    </a:lnTo>
                                    <a:lnTo>
                                      <a:pt x="69" y="6"/>
                                    </a:lnTo>
                                    <a:lnTo>
                                      <a:pt x="70" y="6"/>
                                    </a:lnTo>
                                    <a:lnTo>
                                      <a:pt x="70" y="6"/>
                                    </a:lnTo>
                                    <a:lnTo>
                                      <a:pt x="71" y="6"/>
                                    </a:lnTo>
                                    <a:lnTo>
                                      <a:pt x="72" y="6"/>
                                    </a:lnTo>
                                    <a:lnTo>
                                      <a:pt x="72" y="7"/>
                                    </a:lnTo>
                                    <a:lnTo>
                                      <a:pt x="72" y="7"/>
                                    </a:lnTo>
                                    <a:lnTo>
                                      <a:pt x="72" y="7"/>
                                    </a:lnTo>
                                    <a:lnTo>
                                      <a:pt x="72" y="7"/>
                                    </a:lnTo>
                                    <a:lnTo>
                                      <a:pt x="73" y="7"/>
                                    </a:lnTo>
                                    <a:lnTo>
                                      <a:pt x="73" y="7"/>
                                    </a:lnTo>
                                    <a:lnTo>
                                      <a:pt x="73" y="7"/>
                                    </a:lnTo>
                                    <a:lnTo>
                                      <a:pt x="73" y="7"/>
                                    </a:lnTo>
                                    <a:lnTo>
                                      <a:pt x="73" y="7"/>
                                    </a:lnTo>
                                    <a:lnTo>
                                      <a:pt x="73" y="7"/>
                                    </a:lnTo>
                                    <a:lnTo>
                                      <a:pt x="74" y="7"/>
                                    </a:lnTo>
                                    <a:lnTo>
                                      <a:pt x="74" y="6"/>
                                    </a:lnTo>
                                    <a:lnTo>
                                      <a:pt x="74" y="6"/>
                                    </a:lnTo>
                                    <a:lnTo>
                                      <a:pt x="75" y="6"/>
                                    </a:lnTo>
                                    <a:lnTo>
                                      <a:pt x="75" y="6"/>
                                    </a:lnTo>
                                    <a:lnTo>
                                      <a:pt x="76" y="5"/>
                                    </a:lnTo>
                                    <a:lnTo>
                                      <a:pt x="76" y="5"/>
                                    </a:lnTo>
                                    <a:lnTo>
                                      <a:pt x="77" y="4"/>
                                    </a:lnTo>
                                    <a:lnTo>
                                      <a:pt x="78" y="4"/>
                                    </a:lnTo>
                                    <a:lnTo>
                                      <a:pt x="78" y="3"/>
                                    </a:lnTo>
                                    <a:lnTo>
                                      <a:pt x="78" y="3"/>
                                    </a:lnTo>
                                    <a:lnTo>
                                      <a:pt x="79" y="3"/>
                                    </a:lnTo>
                                    <a:lnTo>
                                      <a:pt x="79" y="3"/>
                                    </a:lnTo>
                                    <a:lnTo>
                                      <a:pt x="80" y="3"/>
                                    </a:lnTo>
                                    <a:lnTo>
                                      <a:pt x="80" y="3"/>
                                    </a:lnTo>
                                    <a:lnTo>
                                      <a:pt x="80" y="3"/>
                                    </a:lnTo>
                                    <a:lnTo>
                                      <a:pt x="80" y="2"/>
                                    </a:lnTo>
                                    <a:lnTo>
                                      <a:pt x="80" y="2"/>
                                    </a:lnTo>
                                    <a:lnTo>
                                      <a:pt x="80" y="2"/>
                                    </a:lnTo>
                                    <a:lnTo>
                                      <a:pt x="80" y="1"/>
                                    </a:lnTo>
                                    <a:lnTo>
                                      <a:pt x="81" y="1"/>
                                    </a:lnTo>
                                    <a:lnTo>
                                      <a:pt x="81" y="1"/>
                                    </a:lnTo>
                                    <a:lnTo>
                                      <a:pt x="82" y="1"/>
                                    </a:lnTo>
                                    <a:lnTo>
                                      <a:pt x="82" y="1"/>
                                    </a:lnTo>
                                    <a:lnTo>
                                      <a:pt x="82" y="2"/>
                                    </a:lnTo>
                                    <a:lnTo>
                                      <a:pt x="82" y="2"/>
                                    </a:lnTo>
                                    <a:lnTo>
                                      <a:pt x="82" y="2"/>
                                    </a:lnTo>
                                    <a:lnTo>
                                      <a:pt x="82" y="3"/>
                                    </a:lnTo>
                                    <a:lnTo>
                                      <a:pt x="83" y="3"/>
                                    </a:lnTo>
                                    <a:lnTo>
                                      <a:pt x="83" y="3"/>
                                    </a:lnTo>
                                    <a:lnTo>
                                      <a:pt x="83" y="3"/>
                                    </a:lnTo>
                                    <a:lnTo>
                                      <a:pt x="84" y="3"/>
                                    </a:lnTo>
                                    <a:lnTo>
                                      <a:pt x="84" y="4"/>
                                    </a:lnTo>
                                    <a:lnTo>
                                      <a:pt x="84" y="4"/>
                                    </a:lnTo>
                                    <a:lnTo>
                                      <a:pt x="85" y="5"/>
                                    </a:lnTo>
                                    <a:lnTo>
                                      <a:pt x="85" y="6"/>
                                    </a:lnTo>
                                    <a:lnTo>
                                      <a:pt x="85" y="7"/>
                                    </a:lnTo>
                                    <a:lnTo>
                                      <a:pt x="85" y="7"/>
                                    </a:lnTo>
                                    <a:lnTo>
                                      <a:pt x="86" y="8"/>
                                    </a:lnTo>
                                    <a:lnTo>
                                      <a:pt x="86" y="8"/>
                                    </a:lnTo>
                                    <a:lnTo>
                                      <a:pt x="85" y="9"/>
                                    </a:lnTo>
                                    <a:lnTo>
                                      <a:pt x="85" y="10"/>
                                    </a:lnTo>
                                    <a:lnTo>
                                      <a:pt x="85" y="10"/>
                                    </a:lnTo>
                                    <a:lnTo>
                                      <a:pt x="85" y="11"/>
                                    </a:lnTo>
                                    <a:lnTo>
                                      <a:pt x="85" y="12"/>
                                    </a:lnTo>
                                    <a:lnTo>
                                      <a:pt x="86" y="12"/>
                                    </a:lnTo>
                                    <a:lnTo>
                                      <a:pt x="86" y="12"/>
                                    </a:lnTo>
                                    <a:lnTo>
                                      <a:pt x="86" y="13"/>
                                    </a:lnTo>
                                    <a:lnTo>
                                      <a:pt x="87" y="13"/>
                                    </a:lnTo>
                                    <a:lnTo>
                                      <a:pt x="87" y="13"/>
                                    </a:lnTo>
                                    <a:lnTo>
                                      <a:pt x="87" y="14"/>
                                    </a:lnTo>
                                    <a:lnTo>
                                      <a:pt x="87" y="15"/>
                                    </a:lnTo>
                                    <a:lnTo>
                                      <a:pt x="87" y="15"/>
                                    </a:lnTo>
                                    <a:lnTo>
                                      <a:pt x="87" y="16"/>
                                    </a:lnTo>
                                    <a:lnTo>
                                      <a:pt x="87" y="17"/>
                                    </a:lnTo>
                                    <a:lnTo>
                                      <a:pt x="88" y="17"/>
                                    </a:lnTo>
                                    <a:lnTo>
                                      <a:pt x="88" y="18"/>
                                    </a:lnTo>
                                    <a:lnTo>
                                      <a:pt x="88" y="18"/>
                                    </a:lnTo>
                                    <a:lnTo>
                                      <a:pt x="89" y="19"/>
                                    </a:lnTo>
                                    <a:lnTo>
                                      <a:pt x="89" y="19"/>
                                    </a:lnTo>
                                    <a:lnTo>
                                      <a:pt x="90" y="19"/>
                                    </a:lnTo>
                                    <a:lnTo>
                                      <a:pt x="90" y="20"/>
                                    </a:lnTo>
                                    <a:lnTo>
                                      <a:pt x="90" y="22"/>
                                    </a:lnTo>
                                    <a:lnTo>
                                      <a:pt x="90" y="24"/>
                                    </a:lnTo>
                                    <a:lnTo>
                                      <a:pt x="90" y="26"/>
                                    </a:lnTo>
                                    <a:lnTo>
                                      <a:pt x="90" y="28"/>
                                    </a:lnTo>
                                    <a:lnTo>
                                      <a:pt x="90" y="28"/>
                                    </a:lnTo>
                                    <a:lnTo>
                                      <a:pt x="89" y="28"/>
                                    </a:lnTo>
                                    <a:lnTo>
                                      <a:pt x="89" y="29"/>
                                    </a:lnTo>
                                    <a:lnTo>
                                      <a:pt x="88" y="29"/>
                                    </a:lnTo>
                                    <a:lnTo>
                                      <a:pt x="88" y="30"/>
                                    </a:lnTo>
                                    <a:lnTo>
                                      <a:pt x="88" y="30"/>
                                    </a:lnTo>
                                    <a:lnTo>
                                      <a:pt x="87" y="31"/>
                                    </a:lnTo>
                                    <a:lnTo>
                                      <a:pt x="87" y="31"/>
                                    </a:lnTo>
                                    <a:lnTo>
                                      <a:pt x="87" y="32"/>
                                    </a:lnTo>
                                    <a:lnTo>
                                      <a:pt x="87" y="33"/>
                                    </a:lnTo>
                                    <a:lnTo>
                                      <a:pt x="87" y="34"/>
                                    </a:lnTo>
                                    <a:lnTo>
                                      <a:pt x="87" y="35"/>
                                    </a:lnTo>
                                    <a:lnTo>
                                      <a:pt x="88" y="35"/>
                                    </a:lnTo>
                                    <a:lnTo>
                                      <a:pt x="89" y="36"/>
                                    </a:lnTo>
                                    <a:lnTo>
                                      <a:pt x="90" y="36"/>
                                    </a:lnTo>
                                    <a:lnTo>
                                      <a:pt x="91" y="37"/>
                                    </a:lnTo>
                                    <a:lnTo>
                                      <a:pt x="92" y="37"/>
                                    </a:lnTo>
                                    <a:lnTo>
                                      <a:pt x="93" y="37"/>
                                    </a:lnTo>
                                    <a:lnTo>
                                      <a:pt x="93" y="38"/>
                                    </a:lnTo>
                                    <a:lnTo>
                                      <a:pt x="94" y="38"/>
                                    </a:lnTo>
                                    <a:lnTo>
                                      <a:pt x="95" y="38"/>
                                    </a:lnTo>
                                    <a:lnTo>
                                      <a:pt x="96" y="38"/>
                                    </a:lnTo>
                                    <a:lnTo>
                                      <a:pt x="97" y="37"/>
                                    </a:lnTo>
                                    <a:lnTo>
                                      <a:pt x="98" y="37"/>
                                    </a:lnTo>
                                    <a:lnTo>
                                      <a:pt x="99" y="37"/>
                                    </a:lnTo>
                                    <a:lnTo>
                                      <a:pt x="100" y="37"/>
                                    </a:lnTo>
                                    <a:lnTo>
                                      <a:pt x="102" y="36"/>
                                    </a:lnTo>
                                    <a:lnTo>
                                      <a:pt x="103" y="36"/>
                                    </a:lnTo>
                                    <a:lnTo>
                                      <a:pt x="103" y="36"/>
                                    </a:lnTo>
                                    <a:lnTo>
                                      <a:pt x="103" y="36"/>
                                    </a:lnTo>
                                    <a:lnTo>
                                      <a:pt x="103" y="36"/>
                                    </a:lnTo>
                                    <a:lnTo>
                                      <a:pt x="104" y="36"/>
                                    </a:lnTo>
                                    <a:lnTo>
                                      <a:pt x="104" y="35"/>
                                    </a:lnTo>
                                    <a:lnTo>
                                      <a:pt x="104" y="35"/>
                                    </a:lnTo>
                                    <a:lnTo>
                                      <a:pt x="104" y="35"/>
                                    </a:lnTo>
                                    <a:lnTo>
                                      <a:pt x="104" y="35"/>
                                    </a:lnTo>
                                    <a:lnTo>
                                      <a:pt x="105" y="34"/>
                                    </a:lnTo>
                                    <a:lnTo>
                                      <a:pt x="105" y="34"/>
                                    </a:lnTo>
                                    <a:lnTo>
                                      <a:pt x="106" y="34"/>
                                    </a:lnTo>
                                    <a:lnTo>
                                      <a:pt x="106" y="33"/>
                                    </a:lnTo>
                                    <a:lnTo>
                                      <a:pt x="107" y="33"/>
                                    </a:lnTo>
                                    <a:lnTo>
                                      <a:pt x="107" y="33"/>
                                    </a:lnTo>
                                    <a:lnTo>
                                      <a:pt x="107" y="33"/>
                                    </a:lnTo>
                                    <a:lnTo>
                                      <a:pt x="108" y="33"/>
                                    </a:lnTo>
                                    <a:lnTo>
                                      <a:pt x="108" y="33"/>
                                    </a:lnTo>
                                    <a:lnTo>
                                      <a:pt x="108" y="32"/>
                                    </a:lnTo>
                                    <a:lnTo>
                                      <a:pt x="109" y="32"/>
                                    </a:lnTo>
                                    <a:lnTo>
                                      <a:pt x="109" y="32"/>
                                    </a:lnTo>
                                    <a:lnTo>
                                      <a:pt x="109" y="32"/>
                                    </a:lnTo>
                                    <a:lnTo>
                                      <a:pt x="109" y="31"/>
                                    </a:lnTo>
                                    <a:lnTo>
                                      <a:pt x="109" y="31"/>
                                    </a:lnTo>
                                    <a:lnTo>
                                      <a:pt x="110" y="31"/>
                                    </a:lnTo>
                                    <a:lnTo>
                                      <a:pt x="110" y="31"/>
                                    </a:lnTo>
                                    <a:lnTo>
                                      <a:pt x="111" y="32"/>
                                    </a:lnTo>
                                    <a:lnTo>
                                      <a:pt x="111" y="32"/>
                                    </a:lnTo>
                                    <a:lnTo>
                                      <a:pt x="111" y="32"/>
                                    </a:lnTo>
                                    <a:lnTo>
                                      <a:pt x="112" y="33"/>
                                    </a:lnTo>
                                    <a:lnTo>
                                      <a:pt x="112" y="34"/>
                                    </a:lnTo>
                                    <a:lnTo>
                                      <a:pt x="113" y="35"/>
                                    </a:lnTo>
                                    <a:lnTo>
                                      <a:pt x="113" y="36"/>
                                    </a:lnTo>
                                    <a:lnTo>
                                      <a:pt x="113" y="37"/>
                                    </a:lnTo>
                                    <a:lnTo>
                                      <a:pt x="113" y="38"/>
                                    </a:lnTo>
                                    <a:lnTo>
                                      <a:pt x="114" y="39"/>
                                    </a:lnTo>
                                    <a:lnTo>
                                      <a:pt x="114" y="40"/>
                                    </a:lnTo>
                                    <a:lnTo>
                                      <a:pt x="114" y="41"/>
                                    </a:lnTo>
                                    <a:lnTo>
                                      <a:pt x="115" y="41"/>
                                    </a:lnTo>
                                    <a:lnTo>
                                      <a:pt x="115" y="42"/>
                                    </a:lnTo>
                                    <a:lnTo>
                                      <a:pt x="116" y="42"/>
                                    </a:lnTo>
                                    <a:lnTo>
                                      <a:pt x="116" y="43"/>
                                    </a:lnTo>
                                    <a:lnTo>
                                      <a:pt x="117" y="43"/>
                                    </a:lnTo>
                                    <a:lnTo>
                                      <a:pt x="117" y="43"/>
                                    </a:lnTo>
                                    <a:lnTo>
                                      <a:pt x="117" y="43"/>
                                    </a:lnTo>
                                    <a:lnTo>
                                      <a:pt x="118" y="43"/>
                                    </a:lnTo>
                                    <a:lnTo>
                                      <a:pt x="118" y="43"/>
                                    </a:lnTo>
                                    <a:lnTo>
                                      <a:pt x="118" y="42"/>
                                    </a:lnTo>
                                    <a:lnTo>
                                      <a:pt x="118" y="42"/>
                                    </a:lnTo>
                                    <a:lnTo>
                                      <a:pt x="119" y="42"/>
                                    </a:lnTo>
                                    <a:lnTo>
                                      <a:pt x="119" y="42"/>
                                    </a:lnTo>
                                    <a:lnTo>
                                      <a:pt x="119" y="41"/>
                                    </a:lnTo>
                                    <a:lnTo>
                                      <a:pt x="119" y="41"/>
                                    </a:lnTo>
                                    <a:lnTo>
                                      <a:pt x="120" y="41"/>
                                    </a:lnTo>
                                    <a:lnTo>
                                      <a:pt x="120" y="41"/>
                                    </a:lnTo>
                                    <a:lnTo>
                                      <a:pt x="120" y="40"/>
                                    </a:lnTo>
                                    <a:lnTo>
                                      <a:pt x="120" y="40"/>
                                    </a:lnTo>
                                    <a:lnTo>
                                      <a:pt x="120" y="39"/>
                                    </a:lnTo>
                                    <a:lnTo>
                                      <a:pt x="120" y="39"/>
                                    </a:lnTo>
                                    <a:lnTo>
                                      <a:pt x="120" y="38"/>
                                    </a:lnTo>
                                    <a:lnTo>
                                      <a:pt x="121" y="38"/>
                                    </a:lnTo>
                                    <a:lnTo>
                                      <a:pt x="121" y="38"/>
                                    </a:lnTo>
                                    <a:lnTo>
                                      <a:pt x="122" y="38"/>
                                    </a:lnTo>
                                    <a:lnTo>
                                      <a:pt x="122" y="37"/>
                                    </a:lnTo>
                                    <a:lnTo>
                                      <a:pt x="123" y="37"/>
                                    </a:lnTo>
                                    <a:lnTo>
                                      <a:pt x="123" y="36"/>
                                    </a:lnTo>
                                    <a:lnTo>
                                      <a:pt x="124" y="36"/>
                                    </a:lnTo>
                                    <a:lnTo>
                                      <a:pt x="124" y="36"/>
                                    </a:lnTo>
                                    <a:lnTo>
                                      <a:pt x="125" y="36"/>
                                    </a:lnTo>
                                    <a:lnTo>
                                      <a:pt x="125" y="37"/>
                                    </a:lnTo>
                                    <a:lnTo>
                                      <a:pt x="126" y="37"/>
                                    </a:lnTo>
                                    <a:lnTo>
                                      <a:pt x="126" y="37"/>
                                    </a:lnTo>
                                    <a:lnTo>
                                      <a:pt x="126" y="38"/>
                                    </a:lnTo>
                                    <a:lnTo>
                                      <a:pt x="127" y="38"/>
                                    </a:lnTo>
                                    <a:lnTo>
                                      <a:pt x="127" y="39"/>
                                    </a:lnTo>
                                    <a:lnTo>
                                      <a:pt x="127" y="39"/>
                                    </a:lnTo>
                                    <a:lnTo>
                                      <a:pt x="127" y="39"/>
                                    </a:lnTo>
                                    <a:lnTo>
                                      <a:pt x="128" y="40"/>
                                    </a:lnTo>
                                    <a:lnTo>
                                      <a:pt x="128" y="40"/>
                                    </a:lnTo>
                                    <a:lnTo>
                                      <a:pt x="129" y="40"/>
                                    </a:lnTo>
                                    <a:lnTo>
                                      <a:pt x="130" y="40"/>
                                    </a:lnTo>
                                    <a:lnTo>
                                      <a:pt x="130" y="40"/>
                                    </a:lnTo>
                                    <a:lnTo>
                                      <a:pt x="131" y="40"/>
                                    </a:lnTo>
                                    <a:lnTo>
                                      <a:pt x="131" y="40"/>
                                    </a:lnTo>
                                    <a:lnTo>
                                      <a:pt x="131" y="40"/>
                                    </a:lnTo>
                                    <a:lnTo>
                                      <a:pt x="131" y="41"/>
                                    </a:lnTo>
                                    <a:lnTo>
                                      <a:pt x="132" y="41"/>
                                    </a:lnTo>
                                    <a:lnTo>
                                      <a:pt x="132" y="41"/>
                                    </a:lnTo>
                                    <a:lnTo>
                                      <a:pt x="133" y="41"/>
                                    </a:lnTo>
                                    <a:lnTo>
                                      <a:pt x="133" y="41"/>
                                    </a:lnTo>
                                    <a:lnTo>
                                      <a:pt x="134" y="41"/>
                                    </a:lnTo>
                                    <a:lnTo>
                                      <a:pt x="134" y="41"/>
                                    </a:lnTo>
                                    <a:lnTo>
                                      <a:pt x="134" y="41"/>
                                    </a:lnTo>
                                    <a:lnTo>
                                      <a:pt x="135" y="41"/>
                                    </a:lnTo>
                                    <a:lnTo>
                                      <a:pt x="135" y="40"/>
                                    </a:lnTo>
                                    <a:lnTo>
                                      <a:pt x="135" y="40"/>
                                    </a:lnTo>
                                    <a:lnTo>
                                      <a:pt x="135" y="40"/>
                                    </a:lnTo>
                                    <a:lnTo>
                                      <a:pt x="135" y="40"/>
                                    </a:lnTo>
                                    <a:lnTo>
                                      <a:pt x="136" y="40"/>
                                    </a:lnTo>
                                    <a:lnTo>
                                      <a:pt x="136" y="39"/>
                                    </a:lnTo>
                                    <a:lnTo>
                                      <a:pt x="136" y="39"/>
                                    </a:lnTo>
                                    <a:lnTo>
                                      <a:pt x="137" y="39"/>
                                    </a:lnTo>
                                    <a:lnTo>
                                      <a:pt x="137" y="39"/>
                                    </a:lnTo>
                                    <a:lnTo>
                                      <a:pt x="138" y="39"/>
                                    </a:lnTo>
                                    <a:lnTo>
                                      <a:pt x="138" y="38"/>
                                    </a:lnTo>
                                    <a:lnTo>
                                      <a:pt x="138" y="38"/>
                                    </a:lnTo>
                                    <a:lnTo>
                                      <a:pt x="138" y="39"/>
                                    </a:lnTo>
                                    <a:lnTo>
                                      <a:pt x="138" y="39"/>
                                    </a:lnTo>
                                    <a:lnTo>
                                      <a:pt x="138" y="39"/>
                                    </a:lnTo>
                                    <a:lnTo>
                                      <a:pt x="139" y="39"/>
                                    </a:lnTo>
                                    <a:lnTo>
                                      <a:pt x="139" y="40"/>
                                    </a:lnTo>
                                  </a:path>
                                </a:pathLst>
                              </a:custGeom>
                              <a:solidFill>
                                <a:schemeClr val="bg1">
                                  <a:lumMod val="95000"/>
                                </a:schemeClr>
                              </a:solidFill>
                              <a:ln w="3175">
                                <a:solidFill>
                                  <a:schemeClr val="accent2">
                                    <a:lumMod val="40000"/>
                                    <a:lumOff val="60000"/>
                                  </a:schemeClr>
                                </a:solidFill>
                              </a:ln>
                            </p:spPr>
                            <p:style>
                              <a:lnRef idx="2">
                                <a:schemeClr val="accent1">
                                  <a:shade val="50000"/>
                                </a:schemeClr>
                              </a:lnRef>
                              <a:fillRef idx="1">
                                <a:schemeClr val="accent1"/>
                              </a:fillRef>
                              <a:effectRef idx="0">
                                <a:schemeClr val="accent1"/>
                              </a:effectRef>
                              <a:fontRef idx="minor">
                                <a:schemeClr val="lt1"/>
                              </a:fontRef>
                            </p:style>
                            <p:txBody>
                              <a:bodyPr lIns="104000" tIns="104000" rIns="104000" bIns="104000" anchor="ctr"/>
                              <a:lstStyle/>
                              <a:p>
                                <a:pPr algn="ctr" defTabSz="457200">
                                  <a:lnSpc>
                                    <a:spcPct val="90000"/>
                                  </a:lnSpc>
                                  <a:buClr>
                                    <a:srgbClr val="0563C1"/>
                                  </a:buClr>
                                  <a:buSzPct val="110000"/>
                                  <a:defRPr/>
                                </a:pPr>
                                <a:endParaRPr lang="en-US" sz="1050" dirty="0">
                                  <a:solidFill>
                                    <a:prstClr val="white"/>
                                  </a:solidFill>
                                </a:endParaRPr>
                              </a:p>
                            </p:txBody>
                          </p:sp>
                          <p:sp>
                            <p:nvSpPr>
                              <p:cNvPr id="146" name="Text Box 30"/>
                              <p:cNvSpPr txBox="1">
                                <a:spLocks noChangeArrowheads="1"/>
                              </p:cNvSpPr>
                              <p:nvPr>
                                <p:custDataLst>
                                  <p:tags r:id="rId7"/>
                                </p:custDataLst>
                              </p:nvPr>
                            </p:nvSpPr>
                            <p:spPr bwMode="auto">
                              <a:xfrm>
                                <a:off x="826517" y="2755602"/>
                                <a:ext cx="994453" cy="240332"/>
                              </a:xfrm>
                              <a:prstGeom prst="rect">
                                <a:avLst/>
                              </a:prstGeom>
                              <a:noFill/>
                              <a:ln w="9525">
                                <a:noFill/>
                                <a:miter lim="800000"/>
                                <a:headEnd/>
                                <a:tailEnd/>
                              </a:ln>
                              <a:effectLst/>
                            </p:spPr>
                            <p:txBody>
                              <a:bodyPr lIns="0" tIns="0" rIns="0" bIns="0" anchor="ctr">
                                <a:spAutoFit/>
                              </a:bodyPr>
                              <a:lstStyle/>
                              <a:p>
                                <a:pPr algn="ctr" defTabSz="457200">
                                  <a:defRPr/>
                                </a:pPr>
                                <a:r>
                                  <a:rPr lang="en-US" sz="800" b="1" dirty="0" smtClean="0">
                                    <a:solidFill>
                                      <a:prstClr val="black"/>
                                    </a:solidFill>
                                    <a:cs typeface="Arial" panose="020B0604020202020204" pitchFamily="34" charset="0"/>
                                  </a:rPr>
                                  <a:t>WKR</a:t>
                                </a:r>
                                <a:endParaRPr lang="en-US" sz="1000" b="1" dirty="0">
                                  <a:solidFill>
                                    <a:prstClr val="black"/>
                                  </a:solidFill>
                                  <a:cs typeface="Arial" panose="020B0604020202020204" pitchFamily="34" charset="0"/>
                                </a:endParaRPr>
                              </a:p>
                            </p:txBody>
                          </p:sp>
                          <p:sp>
                            <p:nvSpPr>
                              <p:cNvPr id="147" name="Text Box 31"/>
                              <p:cNvSpPr txBox="1">
                                <a:spLocks noChangeArrowheads="1"/>
                              </p:cNvSpPr>
                              <p:nvPr>
                                <p:custDataLst>
                                  <p:tags r:id="rId8"/>
                                </p:custDataLst>
                              </p:nvPr>
                            </p:nvSpPr>
                            <p:spPr bwMode="auto">
                              <a:xfrm>
                                <a:off x="520906" y="4587796"/>
                                <a:ext cx="1843544" cy="462776"/>
                              </a:xfrm>
                              <a:prstGeom prst="rect">
                                <a:avLst/>
                              </a:prstGeom>
                              <a:noFill/>
                              <a:ln w="9525">
                                <a:noFill/>
                                <a:miter lim="800000"/>
                                <a:headEnd/>
                                <a:tailEnd/>
                              </a:ln>
                              <a:effectLst/>
                            </p:spPr>
                            <p:txBody>
                              <a:bodyPr wrap="square" lIns="0" tIns="0" rIns="0" bIns="0" anchor="ctr">
                                <a:spAutoFit/>
                              </a:bodyPr>
                              <a:lstStyle/>
                              <a:p>
                                <a:pPr algn="ctr" defTabSz="457200">
                                  <a:defRPr/>
                                </a:pPr>
                                <a:r>
                                  <a:rPr lang="en-US" sz="800" b="1" dirty="0" err="1" smtClean="0">
                                    <a:solidFill>
                                      <a:prstClr val="black"/>
                                    </a:solidFill>
                                    <a:cs typeface="Arial" panose="020B0604020202020204" pitchFamily="34" charset="0"/>
                                  </a:rPr>
                                  <a:t>Mangystau</a:t>
                                </a:r>
                                <a:r>
                                  <a:rPr lang="en-US" sz="800" b="1" dirty="0" smtClean="0">
                                    <a:solidFill>
                                      <a:prstClr val="black"/>
                                    </a:solidFill>
                                    <a:cs typeface="Arial" panose="020B0604020202020204" pitchFamily="34" charset="0"/>
                                  </a:rPr>
                                  <a:t> </a:t>
                                </a:r>
                              </a:p>
                              <a:p>
                                <a:pPr algn="ctr" defTabSz="457200">
                                  <a:defRPr/>
                                </a:pPr>
                                <a:r>
                                  <a:rPr lang="en-US" sz="800" b="1" dirty="0" smtClean="0">
                                    <a:solidFill>
                                      <a:prstClr val="black"/>
                                    </a:solidFill>
                                    <a:cs typeface="Arial" panose="020B0604020202020204" pitchFamily="34" charset="0"/>
                                  </a:rPr>
                                  <a:t>region</a:t>
                                </a:r>
                                <a:endParaRPr lang="en-US" sz="900" b="1" dirty="0">
                                  <a:solidFill>
                                    <a:prstClr val="black"/>
                                  </a:solidFill>
                                  <a:cs typeface="Arial" panose="020B0604020202020204" pitchFamily="34" charset="0"/>
                                </a:endParaRPr>
                              </a:p>
                            </p:txBody>
                          </p:sp>
                          <p:sp>
                            <p:nvSpPr>
                              <p:cNvPr id="148" name="Text Box 23"/>
                              <p:cNvSpPr txBox="1">
                                <a:spLocks noChangeArrowheads="1"/>
                              </p:cNvSpPr>
                              <p:nvPr>
                                <p:custDataLst>
                                  <p:tags r:id="rId9"/>
                                </p:custDataLst>
                              </p:nvPr>
                            </p:nvSpPr>
                            <p:spPr bwMode="auto">
                              <a:xfrm>
                                <a:off x="4775542" y="1946044"/>
                                <a:ext cx="614414" cy="462776"/>
                              </a:xfrm>
                              <a:prstGeom prst="rect">
                                <a:avLst/>
                              </a:prstGeom>
                              <a:noFill/>
                              <a:ln>
                                <a:noFill/>
                              </a:ln>
                            </p:spPr>
                            <p:txBody>
                              <a:bodyPr wrap="none" lIns="0" tIns="0" rIns="0" bIns="0" anchor="ctr">
                                <a:spAutoFit/>
                              </a:bodyPr>
                              <a:lstStyle>
                                <a:lvl1pPr>
                                  <a:defRPr>
                                    <a:solidFill>
                                      <a:schemeClr val="tx1"/>
                                    </a:solidFill>
                                    <a:latin typeface="Arial" pitchFamily="34" charset="0"/>
                                  </a:defRPr>
                                </a:lvl1pPr>
                                <a:lvl2pPr marL="742950" indent="-285750">
                                  <a:defRPr>
                                    <a:solidFill>
                                      <a:schemeClr val="tx1"/>
                                    </a:solidFill>
                                    <a:latin typeface="Arial" pitchFamily="34" charset="0"/>
                                  </a:defRPr>
                                </a:lvl2pPr>
                                <a:lvl3pPr marL="1143000" indent="-228600">
                                  <a:defRPr>
                                    <a:solidFill>
                                      <a:schemeClr val="tx1"/>
                                    </a:solidFill>
                                    <a:latin typeface="Arial" pitchFamily="34" charset="0"/>
                                  </a:defRPr>
                                </a:lvl3pPr>
                                <a:lvl4pPr marL="1600200" indent="-228600">
                                  <a:defRPr>
                                    <a:solidFill>
                                      <a:schemeClr val="tx1"/>
                                    </a:solidFill>
                                    <a:latin typeface="Arial" pitchFamily="34" charset="0"/>
                                  </a:defRPr>
                                </a:lvl4pPr>
                                <a:lvl5pPr marL="2057400" indent="-228600">
                                  <a:defRPr>
                                    <a:solidFill>
                                      <a:schemeClr val="tx1"/>
                                    </a:solidFill>
                                    <a:latin typeface="Arial" pitchFamily="34" charset="0"/>
                                  </a:defRPr>
                                </a:lvl5pPr>
                                <a:lvl6pPr marL="2514600" indent="-228600" fontAlgn="base">
                                  <a:spcBef>
                                    <a:spcPct val="0"/>
                                  </a:spcBef>
                                  <a:spcAft>
                                    <a:spcPct val="0"/>
                                  </a:spcAft>
                                  <a:defRPr>
                                    <a:solidFill>
                                      <a:schemeClr val="tx1"/>
                                    </a:solidFill>
                                    <a:latin typeface="Arial" pitchFamily="34" charset="0"/>
                                  </a:defRPr>
                                </a:lvl6pPr>
                                <a:lvl7pPr marL="2971800" indent="-228600" fontAlgn="base">
                                  <a:spcBef>
                                    <a:spcPct val="0"/>
                                  </a:spcBef>
                                  <a:spcAft>
                                    <a:spcPct val="0"/>
                                  </a:spcAft>
                                  <a:defRPr>
                                    <a:solidFill>
                                      <a:schemeClr val="tx1"/>
                                    </a:solidFill>
                                    <a:latin typeface="Arial" pitchFamily="34" charset="0"/>
                                  </a:defRPr>
                                </a:lvl7pPr>
                                <a:lvl8pPr marL="3429000" indent="-228600" fontAlgn="base">
                                  <a:spcBef>
                                    <a:spcPct val="0"/>
                                  </a:spcBef>
                                  <a:spcAft>
                                    <a:spcPct val="0"/>
                                  </a:spcAft>
                                  <a:defRPr>
                                    <a:solidFill>
                                      <a:schemeClr val="tx1"/>
                                    </a:solidFill>
                                    <a:latin typeface="Arial" pitchFamily="34" charset="0"/>
                                  </a:defRPr>
                                </a:lvl8pPr>
                                <a:lvl9pPr marL="3886200" indent="-228600" fontAlgn="base">
                                  <a:spcBef>
                                    <a:spcPct val="0"/>
                                  </a:spcBef>
                                  <a:spcAft>
                                    <a:spcPct val="0"/>
                                  </a:spcAft>
                                  <a:defRPr>
                                    <a:solidFill>
                                      <a:schemeClr val="tx1"/>
                                    </a:solidFill>
                                    <a:latin typeface="Arial" pitchFamily="34" charset="0"/>
                                  </a:defRPr>
                                </a:lvl9pPr>
                              </a:lstStyle>
                              <a:p>
                                <a:pPr algn="ctr" defTabSz="457200">
                                  <a:defRPr/>
                                </a:pPr>
                                <a:r>
                                  <a:rPr lang="en-US" sz="800" b="1" dirty="0" err="1" smtClean="0">
                                    <a:latin typeface="+mn-lt"/>
                                    <a:cs typeface="Arial" panose="020B0604020202020204" pitchFamily="34" charset="0"/>
                                  </a:rPr>
                                  <a:t>Akmola</a:t>
                                </a:r>
                                <a:r>
                                  <a:rPr lang="en-US" sz="800" b="1" dirty="0" smtClean="0">
                                    <a:latin typeface="+mn-lt"/>
                                    <a:cs typeface="Arial" panose="020B0604020202020204" pitchFamily="34" charset="0"/>
                                  </a:rPr>
                                  <a:t> </a:t>
                                </a:r>
                              </a:p>
                              <a:p>
                                <a:pPr algn="ctr" defTabSz="457200">
                                  <a:defRPr/>
                                </a:pPr>
                                <a:r>
                                  <a:rPr lang="en-US" sz="800" b="1" dirty="0" smtClean="0">
                                    <a:latin typeface="+mn-lt"/>
                                    <a:cs typeface="Arial" panose="020B0604020202020204" pitchFamily="34" charset="0"/>
                                  </a:rPr>
                                  <a:t>region</a:t>
                                </a:r>
                                <a:endParaRPr lang="en-US" sz="800" b="1" dirty="0">
                                  <a:latin typeface="+mn-lt"/>
                                  <a:cs typeface="Arial" panose="020B0604020202020204" pitchFamily="34" charset="0"/>
                                </a:endParaRPr>
                              </a:p>
                            </p:txBody>
                          </p:sp>
                          <p:sp>
                            <p:nvSpPr>
                              <p:cNvPr id="149" name="Text Box 26"/>
                              <p:cNvSpPr txBox="1">
                                <a:spLocks noChangeArrowheads="1"/>
                              </p:cNvSpPr>
                              <p:nvPr>
                                <p:custDataLst>
                                  <p:tags r:id="rId10"/>
                                </p:custDataLst>
                              </p:nvPr>
                            </p:nvSpPr>
                            <p:spPr bwMode="auto">
                              <a:xfrm>
                                <a:off x="3158404" y="4409988"/>
                                <a:ext cx="758565" cy="462776"/>
                              </a:xfrm>
                              <a:prstGeom prst="rect">
                                <a:avLst/>
                              </a:prstGeom>
                              <a:noFill/>
                              <a:ln>
                                <a:noFill/>
                              </a:ln>
                              <a:extLst>
                                <a:ext uri="{909E8E84-426E-40DD-AFC4-6F175D3DCCD1}">
                                  <a14:hiddenFill xmlns:a14="http://schemas.microsoft.com/office/drawing/2010/main">
                                    <a:solidFill>
                                      <a:srgbClr val="FFFFFF"/>
                                    </a:solidFill>
                                  </a14:hiddenFill>
                                </a:ext>
                                <a:ext uri="{91240B29-F687-4F45-9708-019B960494DF}">
                                  <a14:hiddenLine xmlns:a14="http://schemas.microsoft.com/office/drawing/2010/main" w="9525">
                                    <a:solidFill>
                                      <a:srgbClr val="000000"/>
                                    </a:solidFill>
                                    <a:miter lim="800000"/>
                                    <a:headEnd/>
                                    <a:tailEnd/>
                                  </a14:hiddenLine>
                                </a:ext>
                              </a:extLst>
                            </p:spPr>
                            <p:txBody>
                              <a:bodyPr wrap="none" lIns="0" tIns="0" rIns="0" bIns="0" anchor="ctr">
                                <a:spAutoFit/>
                              </a:bodyPr>
                              <a:lstStyle>
                                <a:lvl1pPr>
                                  <a:defRPr>
                                    <a:solidFill>
                                      <a:schemeClr val="tx1"/>
                                    </a:solidFill>
                                    <a:latin typeface="Calibri" panose="020F0502020204030204" pitchFamily="34" charset="0"/>
                                  </a:defRPr>
                                </a:lvl1pPr>
                                <a:lvl2pPr marL="742950" indent="-285750">
                                  <a:defRPr>
                                    <a:solidFill>
                                      <a:schemeClr val="tx1"/>
                                    </a:solidFill>
                                    <a:latin typeface="Calibri" panose="020F0502020204030204" pitchFamily="34" charset="0"/>
                                  </a:defRPr>
                                </a:lvl2pPr>
                                <a:lvl3pPr marL="1143000" indent="-228600">
                                  <a:defRPr>
                                    <a:solidFill>
                                      <a:schemeClr val="tx1"/>
                                    </a:solidFill>
                                    <a:latin typeface="Calibri" panose="020F0502020204030204" pitchFamily="34" charset="0"/>
                                  </a:defRPr>
                                </a:lvl3pPr>
                                <a:lvl4pPr marL="1600200" indent="-228600">
                                  <a:defRPr>
                                    <a:solidFill>
                                      <a:schemeClr val="tx1"/>
                                    </a:solidFill>
                                    <a:latin typeface="Calibri" panose="020F0502020204030204" pitchFamily="34" charset="0"/>
                                  </a:defRPr>
                                </a:lvl4pPr>
                                <a:lvl5pPr marL="2057400" indent="-228600">
                                  <a:defRPr>
                                    <a:solidFill>
                                      <a:schemeClr val="tx1"/>
                                    </a:solidFill>
                                    <a:latin typeface="Calibri" panose="020F0502020204030204" pitchFamily="34" charset="0"/>
                                  </a:defRPr>
                                </a:lvl5pPr>
                                <a:lvl6pPr marL="2514600" indent="-228600" defTabSz="457200" fontAlgn="base">
                                  <a:spcBef>
                                    <a:spcPct val="0"/>
                                  </a:spcBef>
                                  <a:spcAft>
                                    <a:spcPct val="0"/>
                                  </a:spcAft>
                                  <a:defRPr>
                                    <a:solidFill>
                                      <a:schemeClr val="tx1"/>
                                    </a:solidFill>
                                    <a:latin typeface="Calibri" panose="020F0502020204030204" pitchFamily="34" charset="0"/>
                                  </a:defRPr>
                                </a:lvl6pPr>
                                <a:lvl7pPr marL="2971800" indent="-228600" defTabSz="457200" fontAlgn="base">
                                  <a:spcBef>
                                    <a:spcPct val="0"/>
                                  </a:spcBef>
                                  <a:spcAft>
                                    <a:spcPct val="0"/>
                                  </a:spcAft>
                                  <a:defRPr>
                                    <a:solidFill>
                                      <a:schemeClr val="tx1"/>
                                    </a:solidFill>
                                    <a:latin typeface="Calibri" panose="020F0502020204030204" pitchFamily="34" charset="0"/>
                                  </a:defRPr>
                                </a:lvl7pPr>
                                <a:lvl8pPr marL="3429000" indent="-228600" defTabSz="457200" fontAlgn="base">
                                  <a:spcBef>
                                    <a:spcPct val="0"/>
                                  </a:spcBef>
                                  <a:spcAft>
                                    <a:spcPct val="0"/>
                                  </a:spcAft>
                                  <a:defRPr>
                                    <a:solidFill>
                                      <a:schemeClr val="tx1"/>
                                    </a:solidFill>
                                    <a:latin typeface="Calibri" panose="020F0502020204030204" pitchFamily="34" charset="0"/>
                                  </a:defRPr>
                                </a:lvl8pPr>
                                <a:lvl9pPr marL="3886200" indent="-228600" defTabSz="457200" fontAlgn="base">
                                  <a:spcBef>
                                    <a:spcPct val="0"/>
                                  </a:spcBef>
                                  <a:spcAft>
                                    <a:spcPct val="0"/>
                                  </a:spcAft>
                                  <a:defRPr>
                                    <a:solidFill>
                                      <a:schemeClr val="tx1"/>
                                    </a:solidFill>
                                    <a:latin typeface="Calibri" panose="020F0502020204030204" pitchFamily="34" charset="0"/>
                                  </a:defRPr>
                                </a:lvl9pPr>
                              </a:lstStyle>
                              <a:p>
                                <a:pPr algn="ctr" defTabSz="457200" fontAlgn="base">
                                  <a:spcBef>
                                    <a:spcPct val="0"/>
                                  </a:spcBef>
                                  <a:spcAft>
                                    <a:spcPct val="0"/>
                                  </a:spcAft>
                                </a:pPr>
                                <a:r>
                                  <a:rPr lang="en-US" altLang="ru-RU" sz="800" b="1" dirty="0" err="1" smtClean="0">
                                    <a:solidFill>
                                      <a:srgbClr val="000000"/>
                                    </a:solidFill>
                                    <a:latin typeface="+mn-lt"/>
                                    <a:cs typeface="Arial" panose="020B0604020202020204" pitchFamily="34" charset="0"/>
                                  </a:rPr>
                                  <a:t>Kyzylorda</a:t>
                                </a:r>
                                <a:r>
                                  <a:rPr lang="en-US" altLang="ru-RU" sz="800" b="1" dirty="0" smtClean="0">
                                    <a:solidFill>
                                      <a:srgbClr val="000000"/>
                                    </a:solidFill>
                                    <a:latin typeface="+mn-lt"/>
                                    <a:cs typeface="Arial" panose="020B0604020202020204" pitchFamily="34" charset="0"/>
                                  </a:rPr>
                                  <a:t> </a:t>
                                </a:r>
                              </a:p>
                              <a:p>
                                <a:pPr algn="ctr" defTabSz="457200" fontAlgn="base">
                                  <a:spcBef>
                                    <a:spcPct val="0"/>
                                  </a:spcBef>
                                  <a:spcAft>
                                    <a:spcPct val="0"/>
                                  </a:spcAft>
                                </a:pPr>
                                <a:r>
                                  <a:rPr lang="en-US" altLang="ru-RU" sz="800" b="1" dirty="0" smtClean="0">
                                    <a:solidFill>
                                      <a:srgbClr val="000000"/>
                                    </a:solidFill>
                                    <a:latin typeface="+mn-lt"/>
                                    <a:cs typeface="Arial" panose="020B0604020202020204" pitchFamily="34" charset="0"/>
                                  </a:rPr>
                                  <a:t>region</a:t>
                                </a:r>
                                <a:endParaRPr lang="en-US" altLang="ru-RU" sz="800" b="1" dirty="0">
                                  <a:solidFill>
                                    <a:srgbClr val="000000"/>
                                  </a:solidFill>
                                  <a:latin typeface="+mn-lt"/>
                                  <a:cs typeface="Arial" panose="020B0604020202020204" pitchFamily="34" charset="0"/>
                                </a:endParaRPr>
                              </a:p>
                            </p:txBody>
                          </p:sp>
                          <p:sp>
                            <p:nvSpPr>
                              <p:cNvPr id="150" name="Text Box 28"/>
                              <p:cNvSpPr txBox="1">
                                <a:spLocks noChangeArrowheads="1"/>
                              </p:cNvSpPr>
                              <p:nvPr>
                                <p:custDataLst>
                                  <p:tags r:id="rId11"/>
                                </p:custDataLst>
                              </p:nvPr>
                            </p:nvSpPr>
                            <p:spPr bwMode="auto">
                              <a:xfrm>
                                <a:off x="2309321" y="3483037"/>
                                <a:ext cx="1044503" cy="231389"/>
                              </a:xfrm>
                              <a:prstGeom prst="rect">
                                <a:avLst/>
                              </a:prstGeom>
                              <a:noFill/>
                              <a:ln>
                                <a:noFill/>
                              </a:ln>
                            </p:spPr>
                            <p:txBody>
                              <a:bodyPr wrap="none" lIns="0" tIns="0" rIns="0" bIns="0" anchor="ctr">
                                <a:spAutoFit/>
                              </a:bodyPr>
                              <a:lstStyle>
                                <a:lvl1pPr>
                                  <a:defRPr>
                                    <a:solidFill>
                                      <a:schemeClr val="tx1"/>
                                    </a:solidFill>
                                    <a:latin typeface="Arial" pitchFamily="34" charset="0"/>
                                  </a:defRPr>
                                </a:lvl1pPr>
                                <a:lvl2pPr marL="742950" indent="-285750">
                                  <a:defRPr>
                                    <a:solidFill>
                                      <a:schemeClr val="tx1"/>
                                    </a:solidFill>
                                    <a:latin typeface="Arial" pitchFamily="34" charset="0"/>
                                  </a:defRPr>
                                </a:lvl2pPr>
                                <a:lvl3pPr marL="1143000" indent="-228600">
                                  <a:defRPr>
                                    <a:solidFill>
                                      <a:schemeClr val="tx1"/>
                                    </a:solidFill>
                                    <a:latin typeface="Arial" pitchFamily="34" charset="0"/>
                                  </a:defRPr>
                                </a:lvl3pPr>
                                <a:lvl4pPr marL="1600200" indent="-228600">
                                  <a:defRPr>
                                    <a:solidFill>
                                      <a:schemeClr val="tx1"/>
                                    </a:solidFill>
                                    <a:latin typeface="Arial" pitchFamily="34" charset="0"/>
                                  </a:defRPr>
                                </a:lvl4pPr>
                                <a:lvl5pPr marL="2057400" indent="-228600">
                                  <a:defRPr>
                                    <a:solidFill>
                                      <a:schemeClr val="tx1"/>
                                    </a:solidFill>
                                    <a:latin typeface="Arial" pitchFamily="34" charset="0"/>
                                  </a:defRPr>
                                </a:lvl5pPr>
                                <a:lvl6pPr marL="2514600" indent="-228600" fontAlgn="base">
                                  <a:spcBef>
                                    <a:spcPct val="0"/>
                                  </a:spcBef>
                                  <a:spcAft>
                                    <a:spcPct val="0"/>
                                  </a:spcAft>
                                  <a:defRPr>
                                    <a:solidFill>
                                      <a:schemeClr val="tx1"/>
                                    </a:solidFill>
                                    <a:latin typeface="Arial" pitchFamily="34" charset="0"/>
                                  </a:defRPr>
                                </a:lvl6pPr>
                                <a:lvl7pPr marL="2971800" indent="-228600" fontAlgn="base">
                                  <a:spcBef>
                                    <a:spcPct val="0"/>
                                  </a:spcBef>
                                  <a:spcAft>
                                    <a:spcPct val="0"/>
                                  </a:spcAft>
                                  <a:defRPr>
                                    <a:solidFill>
                                      <a:schemeClr val="tx1"/>
                                    </a:solidFill>
                                    <a:latin typeface="Arial" pitchFamily="34" charset="0"/>
                                  </a:defRPr>
                                </a:lvl7pPr>
                                <a:lvl8pPr marL="3429000" indent="-228600" fontAlgn="base">
                                  <a:spcBef>
                                    <a:spcPct val="0"/>
                                  </a:spcBef>
                                  <a:spcAft>
                                    <a:spcPct val="0"/>
                                  </a:spcAft>
                                  <a:defRPr>
                                    <a:solidFill>
                                      <a:schemeClr val="tx1"/>
                                    </a:solidFill>
                                    <a:latin typeface="Arial" pitchFamily="34" charset="0"/>
                                  </a:defRPr>
                                </a:lvl8pPr>
                                <a:lvl9pPr marL="3886200" indent="-228600" fontAlgn="base">
                                  <a:spcBef>
                                    <a:spcPct val="0"/>
                                  </a:spcBef>
                                  <a:spcAft>
                                    <a:spcPct val="0"/>
                                  </a:spcAft>
                                  <a:defRPr>
                                    <a:solidFill>
                                      <a:schemeClr val="tx1"/>
                                    </a:solidFill>
                                    <a:latin typeface="Arial" pitchFamily="34" charset="0"/>
                                  </a:defRPr>
                                </a:lvl9pPr>
                              </a:lstStyle>
                              <a:p>
                                <a:pPr algn="ctr" defTabSz="457200">
                                  <a:defRPr/>
                                </a:pPr>
                                <a:r>
                                  <a:rPr lang="en-US" sz="800" b="1" dirty="0" err="1" smtClean="0">
                                    <a:solidFill>
                                      <a:prstClr val="black"/>
                                    </a:solidFill>
                                    <a:latin typeface="+mn-lt"/>
                                    <a:cs typeface="Arial" panose="020B0604020202020204" pitchFamily="34" charset="0"/>
                                  </a:rPr>
                                  <a:t>Aktobe</a:t>
                                </a:r>
                                <a:r>
                                  <a:rPr lang="en-US" sz="800" b="1" dirty="0" smtClean="0">
                                    <a:solidFill>
                                      <a:prstClr val="black"/>
                                    </a:solidFill>
                                    <a:latin typeface="+mn-lt"/>
                                    <a:cs typeface="Arial" panose="020B0604020202020204" pitchFamily="34" charset="0"/>
                                  </a:rPr>
                                  <a:t> region</a:t>
                                </a:r>
                                <a:endParaRPr lang="en-US" sz="800" b="1" dirty="0">
                                  <a:solidFill>
                                    <a:prstClr val="black"/>
                                  </a:solidFill>
                                  <a:cs typeface="Arial" panose="020B0604020202020204" pitchFamily="34" charset="0"/>
                                </a:endParaRPr>
                              </a:p>
                            </p:txBody>
                          </p:sp>
                          <p:sp>
                            <p:nvSpPr>
                              <p:cNvPr id="151" name="Text Box 29"/>
                              <p:cNvSpPr txBox="1">
                                <a:spLocks noChangeArrowheads="1"/>
                              </p:cNvSpPr>
                              <p:nvPr>
                                <p:custDataLst>
                                  <p:tags r:id="rId12"/>
                                </p:custDataLst>
                              </p:nvPr>
                            </p:nvSpPr>
                            <p:spPr bwMode="auto">
                              <a:xfrm>
                                <a:off x="405802" y="3284480"/>
                                <a:ext cx="1778029" cy="231389"/>
                              </a:xfrm>
                              <a:prstGeom prst="rect">
                                <a:avLst/>
                              </a:prstGeom>
                              <a:noFill/>
                              <a:ln w="9525">
                                <a:noFill/>
                                <a:miter lim="800000"/>
                                <a:headEnd/>
                                <a:tailEnd/>
                              </a:ln>
                              <a:effectLst/>
                            </p:spPr>
                            <p:txBody>
                              <a:bodyPr wrap="square" lIns="0" tIns="0" rIns="0" bIns="0" anchor="ctr">
                                <a:spAutoFit/>
                              </a:bodyPr>
                              <a:lstStyle/>
                              <a:p>
                                <a:pPr algn="ctr" defTabSz="457200">
                                  <a:defRPr/>
                                </a:pPr>
                                <a:r>
                                  <a:rPr lang="en-US" sz="800" b="1" dirty="0" err="1" smtClean="0">
                                    <a:solidFill>
                                      <a:prstClr val="black"/>
                                    </a:solidFill>
                                    <a:cs typeface="Arial" panose="020B0604020202020204" pitchFamily="34" charset="0"/>
                                  </a:rPr>
                                  <a:t>Atyrau</a:t>
                                </a:r>
                                <a:r>
                                  <a:rPr lang="en-US" sz="800" b="1" dirty="0" smtClean="0">
                                    <a:solidFill>
                                      <a:prstClr val="black"/>
                                    </a:solidFill>
                                    <a:cs typeface="Arial" panose="020B0604020202020204" pitchFamily="34" charset="0"/>
                                  </a:rPr>
                                  <a:t> region</a:t>
                                </a:r>
                                <a:endParaRPr lang="en-US" sz="800" dirty="0">
                                  <a:solidFill>
                                    <a:srgbClr val="4472C4"/>
                                  </a:solidFill>
                                  <a:cs typeface="Arial" panose="020B0604020202020204" pitchFamily="34" charset="0"/>
                                </a:endParaRPr>
                              </a:p>
                            </p:txBody>
                          </p:sp>
                          <p:sp>
                            <p:nvSpPr>
                              <p:cNvPr id="152" name="Text Box 32"/>
                              <p:cNvSpPr txBox="1">
                                <a:spLocks noChangeArrowheads="1"/>
                              </p:cNvSpPr>
                              <p:nvPr>
                                <p:custDataLst>
                                  <p:tags r:id="rId13"/>
                                </p:custDataLst>
                              </p:nvPr>
                            </p:nvSpPr>
                            <p:spPr bwMode="auto">
                              <a:xfrm>
                                <a:off x="3194343" y="2514850"/>
                                <a:ext cx="1260561" cy="462776"/>
                              </a:xfrm>
                              <a:prstGeom prst="rect">
                                <a:avLst/>
                              </a:prstGeom>
                              <a:noFill/>
                              <a:ln>
                                <a:noFill/>
                              </a:ln>
                            </p:spPr>
                            <p:txBody>
                              <a:bodyPr wrap="square" lIns="0" tIns="0" rIns="0" bIns="0" anchor="ctr">
                                <a:spAutoFit/>
                              </a:bodyPr>
                              <a:lstStyle>
                                <a:lvl1pPr>
                                  <a:defRPr>
                                    <a:solidFill>
                                      <a:schemeClr val="tx1"/>
                                    </a:solidFill>
                                    <a:latin typeface="Arial" pitchFamily="34" charset="0"/>
                                  </a:defRPr>
                                </a:lvl1pPr>
                                <a:lvl2pPr marL="742950" indent="-285750">
                                  <a:defRPr>
                                    <a:solidFill>
                                      <a:schemeClr val="tx1"/>
                                    </a:solidFill>
                                    <a:latin typeface="Arial" pitchFamily="34" charset="0"/>
                                  </a:defRPr>
                                </a:lvl2pPr>
                                <a:lvl3pPr marL="1143000" indent="-228600">
                                  <a:defRPr>
                                    <a:solidFill>
                                      <a:schemeClr val="tx1"/>
                                    </a:solidFill>
                                    <a:latin typeface="Arial" pitchFamily="34" charset="0"/>
                                  </a:defRPr>
                                </a:lvl3pPr>
                                <a:lvl4pPr marL="1600200" indent="-228600">
                                  <a:defRPr>
                                    <a:solidFill>
                                      <a:schemeClr val="tx1"/>
                                    </a:solidFill>
                                    <a:latin typeface="Arial" pitchFamily="34" charset="0"/>
                                  </a:defRPr>
                                </a:lvl4pPr>
                                <a:lvl5pPr marL="2057400" indent="-228600">
                                  <a:defRPr>
                                    <a:solidFill>
                                      <a:schemeClr val="tx1"/>
                                    </a:solidFill>
                                    <a:latin typeface="Arial" pitchFamily="34" charset="0"/>
                                  </a:defRPr>
                                </a:lvl5pPr>
                                <a:lvl6pPr marL="2514600" indent="-228600" fontAlgn="base">
                                  <a:spcBef>
                                    <a:spcPct val="0"/>
                                  </a:spcBef>
                                  <a:spcAft>
                                    <a:spcPct val="0"/>
                                  </a:spcAft>
                                  <a:defRPr>
                                    <a:solidFill>
                                      <a:schemeClr val="tx1"/>
                                    </a:solidFill>
                                    <a:latin typeface="Arial" pitchFamily="34" charset="0"/>
                                  </a:defRPr>
                                </a:lvl6pPr>
                                <a:lvl7pPr marL="2971800" indent="-228600" fontAlgn="base">
                                  <a:spcBef>
                                    <a:spcPct val="0"/>
                                  </a:spcBef>
                                  <a:spcAft>
                                    <a:spcPct val="0"/>
                                  </a:spcAft>
                                  <a:defRPr>
                                    <a:solidFill>
                                      <a:schemeClr val="tx1"/>
                                    </a:solidFill>
                                    <a:latin typeface="Arial" pitchFamily="34" charset="0"/>
                                  </a:defRPr>
                                </a:lvl7pPr>
                                <a:lvl8pPr marL="3429000" indent="-228600" fontAlgn="base">
                                  <a:spcBef>
                                    <a:spcPct val="0"/>
                                  </a:spcBef>
                                  <a:spcAft>
                                    <a:spcPct val="0"/>
                                  </a:spcAft>
                                  <a:defRPr>
                                    <a:solidFill>
                                      <a:schemeClr val="tx1"/>
                                    </a:solidFill>
                                    <a:latin typeface="Arial" pitchFamily="34" charset="0"/>
                                  </a:defRPr>
                                </a:lvl8pPr>
                                <a:lvl9pPr marL="3886200" indent="-228600" fontAlgn="base">
                                  <a:spcBef>
                                    <a:spcPct val="0"/>
                                  </a:spcBef>
                                  <a:spcAft>
                                    <a:spcPct val="0"/>
                                  </a:spcAft>
                                  <a:defRPr>
                                    <a:solidFill>
                                      <a:schemeClr val="tx1"/>
                                    </a:solidFill>
                                    <a:latin typeface="Arial" pitchFamily="34" charset="0"/>
                                  </a:defRPr>
                                </a:lvl9pPr>
                              </a:lstStyle>
                              <a:p>
                                <a:pPr algn="ctr" defTabSz="457200">
                                  <a:defRPr/>
                                </a:pPr>
                                <a:r>
                                  <a:rPr lang="en-US" sz="800" b="1" dirty="0" err="1" smtClean="0">
                                    <a:solidFill>
                                      <a:prstClr val="black"/>
                                    </a:solidFill>
                                    <a:latin typeface="+mn-lt"/>
                                    <a:cs typeface="Arial" panose="020B0604020202020204" pitchFamily="34" charset="0"/>
                                  </a:rPr>
                                  <a:t>Kostanay</a:t>
                                </a:r>
                                <a:r>
                                  <a:rPr lang="en-US" sz="800" b="1" dirty="0" smtClean="0">
                                    <a:solidFill>
                                      <a:prstClr val="black"/>
                                    </a:solidFill>
                                    <a:latin typeface="+mn-lt"/>
                                    <a:cs typeface="Arial" panose="020B0604020202020204" pitchFamily="34" charset="0"/>
                                  </a:rPr>
                                  <a:t> </a:t>
                                </a:r>
                              </a:p>
                              <a:p>
                                <a:pPr algn="ctr" defTabSz="457200">
                                  <a:defRPr/>
                                </a:pPr>
                                <a:r>
                                  <a:rPr lang="en-US" sz="800" b="1" dirty="0" smtClean="0">
                                    <a:solidFill>
                                      <a:prstClr val="black"/>
                                    </a:solidFill>
                                    <a:latin typeface="+mn-lt"/>
                                    <a:cs typeface="Arial" panose="020B0604020202020204" pitchFamily="34" charset="0"/>
                                  </a:rPr>
                                  <a:t>region</a:t>
                                </a:r>
                                <a:endParaRPr lang="en-US" sz="800" b="1" dirty="0">
                                  <a:solidFill>
                                    <a:prstClr val="black"/>
                                  </a:solidFill>
                                  <a:latin typeface="+mn-lt"/>
                                  <a:cs typeface="Arial" panose="020B0604020202020204" pitchFamily="34" charset="0"/>
                                </a:endParaRPr>
                              </a:p>
                            </p:txBody>
                          </p:sp>
                          <p:sp>
                            <p:nvSpPr>
                              <p:cNvPr id="153" name="Text Box 33"/>
                              <p:cNvSpPr txBox="1">
                                <a:spLocks noChangeArrowheads="1"/>
                              </p:cNvSpPr>
                              <p:nvPr>
                                <p:custDataLst>
                                  <p:tags r:id="rId14"/>
                                </p:custDataLst>
                              </p:nvPr>
                            </p:nvSpPr>
                            <p:spPr bwMode="auto">
                              <a:xfrm>
                                <a:off x="4462842" y="1577265"/>
                                <a:ext cx="477615" cy="231389"/>
                              </a:xfrm>
                              <a:prstGeom prst="rect">
                                <a:avLst/>
                              </a:prstGeom>
                              <a:noFill/>
                              <a:ln w="9525">
                                <a:noFill/>
                                <a:miter lim="800000"/>
                                <a:headEnd/>
                                <a:tailEnd/>
                              </a:ln>
                              <a:effectLst/>
                            </p:spPr>
                            <p:txBody>
                              <a:bodyPr lIns="0" tIns="0" rIns="0" bIns="0" anchor="ctr">
                                <a:spAutoFit/>
                              </a:bodyPr>
                              <a:lstStyle/>
                              <a:p>
                                <a:pPr algn="ctr" defTabSz="457200">
                                  <a:defRPr/>
                                </a:pPr>
                                <a:r>
                                  <a:rPr lang="en-US" sz="800" b="1" dirty="0" smtClean="0">
                                    <a:solidFill>
                                      <a:prstClr val="black"/>
                                    </a:solidFill>
                                    <a:cs typeface="Arial" panose="020B0604020202020204" pitchFamily="34" charset="0"/>
                                  </a:rPr>
                                  <a:t>NKR</a:t>
                                </a:r>
                                <a:endParaRPr lang="en-US" sz="800" b="1" dirty="0">
                                  <a:solidFill>
                                    <a:prstClr val="black"/>
                                  </a:solidFill>
                                  <a:cs typeface="Arial" panose="020B0604020202020204" pitchFamily="34" charset="0"/>
                                </a:endParaRPr>
                              </a:p>
                            </p:txBody>
                          </p:sp>
                          <p:sp>
                            <p:nvSpPr>
                              <p:cNvPr id="154" name="Text Box 34"/>
                              <p:cNvSpPr txBox="1">
                                <a:spLocks noChangeArrowheads="1"/>
                              </p:cNvSpPr>
                              <p:nvPr>
                                <p:custDataLst>
                                  <p:tags r:id="rId15"/>
                                </p:custDataLst>
                              </p:nvPr>
                            </p:nvSpPr>
                            <p:spPr bwMode="auto">
                              <a:xfrm>
                                <a:off x="5242350" y="1864876"/>
                                <a:ext cx="1811972" cy="462776"/>
                              </a:xfrm>
                              <a:prstGeom prst="rect">
                                <a:avLst/>
                              </a:prstGeom>
                              <a:noFill/>
                              <a:ln w="9525">
                                <a:noFill/>
                                <a:miter lim="800000"/>
                                <a:headEnd/>
                                <a:tailEnd/>
                              </a:ln>
                              <a:effectLst/>
                            </p:spPr>
                            <p:txBody>
                              <a:bodyPr wrap="square" lIns="0" tIns="0" rIns="0" bIns="0" anchor="ctr">
                                <a:spAutoFit/>
                              </a:bodyPr>
                              <a:lstStyle/>
                              <a:p>
                                <a:pPr algn="ctr" defTabSz="457200">
                                  <a:defRPr/>
                                </a:pPr>
                                <a:r>
                                  <a:rPr lang="en-US" sz="800" b="1" dirty="0" smtClean="0">
                                    <a:solidFill>
                                      <a:prstClr val="black"/>
                                    </a:solidFill>
                                    <a:cs typeface="Arial" panose="020B0604020202020204" pitchFamily="34" charset="0"/>
                                  </a:rPr>
                                  <a:t>Pavlodar </a:t>
                                </a:r>
                              </a:p>
                              <a:p>
                                <a:pPr algn="ctr" defTabSz="457200">
                                  <a:defRPr/>
                                </a:pPr>
                                <a:r>
                                  <a:rPr lang="en-US" sz="800" b="1" dirty="0" smtClean="0">
                                    <a:solidFill>
                                      <a:prstClr val="black"/>
                                    </a:solidFill>
                                    <a:cs typeface="Arial" panose="020B0604020202020204" pitchFamily="34" charset="0"/>
                                  </a:rPr>
                                  <a:t>region</a:t>
                                </a:r>
                                <a:endParaRPr lang="en-US" sz="800" b="1" dirty="0">
                                  <a:solidFill>
                                    <a:prstClr val="black"/>
                                  </a:solidFill>
                                  <a:cs typeface="Arial" panose="020B0604020202020204" pitchFamily="34" charset="0"/>
                                </a:endParaRPr>
                              </a:p>
                            </p:txBody>
                          </p:sp>
                          <p:sp>
                            <p:nvSpPr>
                              <p:cNvPr id="155" name="Text Box 36"/>
                              <p:cNvSpPr txBox="1">
                                <a:spLocks noChangeArrowheads="1"/>
                              </p:cNvSpPr>
                              <p:nvPr>
                                <p:custDataLst>
                                  <p:tags r:id="rId16"/>
                                </p:custDataLst>
                              </p:nvPr>
                            </p:nvSpPr>
                            <p:spPr bwMode="auto">
                              <a:xfrm>
                                <a:off x="6030671" y="4059444"/>
                                <a:ext cx="1579956" cy="462776"/>
                              </a:xfrm>
                              <a:prstGeom prst="rect">
                                <a:avLst/>
                              </a:prstGeom>
                              <a:noFill/>
                              <a:ln w="9525">
                                <a:noFill/>
                                <a:miter lim="800000"/>
                                <a:headEnd/>
                                <a:tailEnd/>
                              </a:ln>
                              <a:effectLst/>
                            </p:spPr>
                            <p:txBody>
                              <a:bodyPr wrap="square" lIns="0" tIns="0" rIns="0" bIns="0" anchor="ctr">
                                <a:spAutoFit/>
                              </a:bodyPr>
                              <a:lstStyle/>
                              <a:p>
                                <a:pPr algn="ctr" defTabSz="457200">
                                  <a:defRPr/>
                                </a:pPr>
                                <a:r>
                                  <a:rPr lang="en-US" sz="800" b="1" dirty="0" smtClean="0">
                                    <a:solidFill>
                                      <a:schemeClr val="bg1"/>
                                    </a:solidFill>
                                    <a:cs typeface="Arial" panose="020B0604020202020204" pitchFamily="34" charset="0"/>
                                  </a:rPr>
                                  <a:t>Almaty </a:t>
                                </a:r>
                              </a:p>
                              <a:p>
                                <a:pPr algn="ctr" defTabSz="457200">
                                  <a:defRPr/>
                                </a:pPr>
                                <a:r>
                                  <a:rPr lang="en-US" sz="800" b="1" dirty="0" smtClean="0">
                                    <a:solidFill>
                                      <a:schemeClr val="bg1"/>
                                    </a:solidFill>
                                    <a:cs typeface="Arial" panose="020B0604020202020204" pitchFamily="34" charset="0"/>
                                  </a:rPr>
                                  <a:t>region</a:t>
                                </a:r>
                                <a:endParaRPr lang="en-US" sz="800" b="1" dirty="0">
                                  <a:solidFill>
                                    <a:schemeClr val="bg1"/>
                                  </a:solidFill>
                                  <a:cs typeface="Arial" panose="020B0604020202020204" pitchFamily="34" charset="0"/>
                                </a:endParaRPr>
                              </a:p>
                            </p:txBody>
                          </p:sp>
                          <p:sp>
                            <p:nvSpPr>
                              <p:cNvPr id="156" name="Text Box 47"/>
                              <p:cNvSpPr txBox="1">
                                <a:spLocks noChangeArrowheads="1"/>
                              </p:cNvSpPr>
                              <p:nvPr>
                                <p:custDataLst>
                                  <p:tags r:id="rId17"/>
                                </p:custDataLst>
                              </p:nvPr>
                            </p:nvSpPr>
                            <p:spPr bwMode="auto">
                              <a:xfrm>
                                <a:off x="5172416" y="4534437"/>
                                <a:ext cx="671129" cy="462776"/>
                              </a:xfrm>
                              <a:prstGeom prst="rect">
                                <a:avLst/>
                              </a:prstGeom>
                              <a:noFill/>
                              <a:ln w="9525">
                                <a:noFill/>
                                <a:miter lim="800000"/>
                                <a:headEnd/>
                                <a:tailEnd/>
                              </a:ln>
                              <a:effectLst/>
                            </p:spPr>
                            <p:txBody>
                              <a:bodyPr wrap="none" lIns="0" tIns="0" rIns="0" bIns="0" anchor="ctr">
                                <a:spAutoFit/>
                              </a:bodyPr>
                              <a:lstStyle/>
                              <a:p>
                                <a:pPr algn="ctr" defTabSz="457200">
                                  <a:defRPr/>
                                </a:pPr>
                                <a:r>
                                  <a:rPr lang="en-US" sz="800" b="1" dirty="0" err="1" smtClean="0">
                                    <a:solidFill>
                                      <a:prstClr val="black"/>
                                    </a:solidFill>
                                    <a:cs typeface="Arial" panose="020B0604020202020204" pitchFamily="34" charset="0"/>
                                  </a:rPr>
                                  <a:t>Zhambyl</a:t>
                                </a:r>
                                <a:r>
                                  <a:rPr lang="en-US" sz="800" b="1" dirty="0" smtClean="0">
                                    <a:solidFill>
                                      <a:prstClr val="black"/>
                                    </a:solidFill>
                                    <a:cs typeface="Arial" panose="020B0604020202020204" pitchFamily="34" charset="0"/>
                                  </a:rPr>
                                  <a:t> </a:t>
                                </a:r>
                              </a:p>
                              <a:p>
                                <a:pPr algn="ctr" defTabSz="457200">
                                  <a:defRPr/>
                                </a:pPr>
                                <a:r>
                                  <a:rPr lang="en-US" sz="800" b="1" dirty="0" smtClean="0">
                                    <a:solidFill>
                                      <a:prstClr val="black"/>
                                    </a:solidFill>
                                    <a:cs typeface="Arial" panose="020B0604020202020204" pitchFamily="34" charset="0"/>
                                  </a:rPr>
                                  <a:t>region</a:t>
                                </a:r>
                                <a:endParaRPr lang="en-US" sz="1050" dirty="0">
                                  <a:solidFill>
                                    <a:prstClr val="black"/>
                                  </a:solidFill>
                                  <a:cs typeface="Arial" panose="020B0604020202020204" pitchFamily="34" charset="0"/>
                                </a:endParaRPr>
                              </a:p>
                            </p:txBody>
                          </p:sp>
                        </p:grpSp>
                      </p:grpSp>
                      <p:sp>
                        <p:nvSpPr>
                          <p:cNvPr id="128" name="Text Box 28"/>
                          <p:cNvSpPr txBox="1">
                            <a:spLocks noChangeArrowheads="1"/>
                          </p:cNvSpPr>
                          <p:nvPr>
                            <p:custDataLst>
                              <p:tags r:id="rId4"/>
                            </p:custDataLst>
                          </p:nvPr>
                        </p:nvSpPr>
                        <p:spPr bwMode="auto">
                          <a:xfrm>
                            <a:off x="2264959" y="5378560"/>
                            <a:ext cx="618380" cy="115896"/>
                          </a:xfrm>
                          <a:prstGeom prst="rect">
                            <a:avLst/>
                          </a:prstGeom>
                          <a:noFill/>
                          <a:ln>
                            <a:noFill/>
                          </a:ln>
                        </p:spPr>
                        <p:txBody>
                          <a:bodyPr wrap="none" lIns="0" tIns="0" rIns="0" bIns="0" anchor="ctr">
                            <a:spAutoFit/>
                          </a:bodyPr>
                          <a:lstStyle>
                            <a:lvl1pPr>
                              <a:defRPr>
                                <a:solidFill>
                                  <a:schemeClr val="tx1"/>
                                </a:solidFill>
                                <a:latin typeface="Arial" pitchFamily="34" charset="0"/>
                              </a:defRPr>
                            </a:lvl1pPr>
                            <a:lvl2pPr marL="742950" indent="-285750">
                              <a:defRPr>
                                <a:solidFill>
                                  <a:schemeClr val="tx1"/>
                                </a:solidFill>
                                <a:latin typeface="Arial" pitchFamily="34" charset="0"/>
                              </a:defRPr>
                            </a:lvl2pPr>
                            <a:lvl3pPr marL="1143000" indent="-228600">
                              <a:defRPr>
                                <a:solidFill>
                                  <a:schemeClr val="tx1"/>
                                </a:solidFill>
                                <a:latin typeface="Arial" pitchFamily="34" charset="0"/>
                              </a:defRPr>
                            </a:lvl3pPr>
                            <a:lvl4pPr marL="1600200" indent="-228600">
                              <a:defRPr>
                                <a:solidFill>
                                  <a:schemeClr val="tx1"/>
                                </a:solidFill>
                                <a:latin typeface="Arial" pitchFamily="34" charset="0"/>
                              </a:defRPr>
                            </a:lvl4pPr>
                            <a:lvl5pPr marL="2057400" indent="-228600">
                              <a:defRPr>
                                <a:solidFill>
                                  <a:schemeClr val="tx1"/>
                                </a:solidFill>
                                <a:latin typeface="Arial" pitchFamily="34" charset="0"/>
                              </a:defRPr>
                            </a:lvl5pPr>
                            <a:lvl6pPr marL="2514600" indent="-228600" fontAlgn="base">
                              <a:spcBef>
                                <a:spcPct val="0"/>
                              </a:spcBef>
                              <a:spcAft>
                                <a:spcPct val="0"/>
                              </a:spcAft>
                              <a:defRPr>
                                <a:solidFill>
                                  <a:schemeClr val="tx1"/>
                                </a:solidFill>
                                <a:latin typeface="Arial" pitchFamily="34" charset="0"/>
                              </a:defRPr>
                            </a:lvl6pPr>
                            <a:lvl7pPr marL="2971800" indent="-228600" fontAlgn="base">
                              <a:spcBef>
                                <a:spcPct val="0"/>
                              </a:spcBef>
                              <a:spcAft>
                                <a:spcPct val="0"/>
                              </a:spcAft>
                              <a:defRPr>
                                <a:solidFill>
                                  <a:schemeClr val="tx1"/>
                                </a:solidFill>
                                <a:latin typeface="Arial" pitchFamily="34" charset="0"/>
                              </a:defRPr>
                            </a:lvl7pPr>
                            <a:lvl8pPr marL="3429000" indent="-228600" fontAlgn="base">
                              <a:spcBef>
                                <a:spcPct val="0"/>
                              </a:spcBef>
                              <a:spcAft>
                                <a:spcPct val="0"/>
                              </a:spcAft>
                              <a:defRPr>
                                <a:solidFill>
                                  <a:schemeClr val="tx1"/>
                                </a:solidFill>
                                <a:latin typeface="Arial" pitchFamily="34" charset="0"/>
                              </a:defRPr>
                            </a:lvl8pPr>
                            <a:lvl9pPr marL="3886200" indent="-228600" fontAlgn="base">
                              <a:spcBef>
                                <a:spcPct val="0"/>
                              </a:spcBef>
                              <a:spcAft>
                                <a:spcPct val="0"/>
                              </a:spcAft>
                              <a:defRPr>
                                <a:solidFill>
                                  <a:schemeClr val="tx1"/>
                                </a:solidFill>
                                <a:latin typeface="Arial" pitchFamily="34" charset="0"/>
                              </a:defRPr>
                            </a:lvl9pPr>
                          </a:lstStyle>
                          <a:p>
                            <a:pPr algn="ctr" defTabSz="457200">
                              <a:defRPr/>
                            </a:pPr>
                            <a:r>
                              <a:rPr lang="en-US" sz="800" b="1" dirty="0" smtClean="0">
                                <a:solidFill>
                                  <a:schemeClr val="bg1"/>
                                </a:solidFill>
                                <a:latin typeface="+mn-lt"/>
                                <a:cs typeface="Arial" panose="020B0604020202020204" pitchFamily="34" charset="0"/>
                              </a:rPr>
                              <a:t>Karaganda region</a:t>
                            </a:r>
                            <a:endParaRPr lang="en-US" sz="800" b="1" dirty="0">
                              <a:solidFill>
                                <a:prstClr val="black"/>
                              </a:solidFill>
                              <a:latin typeface="+mn-lt"/>
                              <a:cs typeface="Arial" panose="020B0604020202020204" pitchFamily="34" charset="0"/>
                            </a:endParaRPr>
                          </a:p>
                        </p:txBody>
                      </p:sp>
                      <p:sp>
                        <p:nvSpPr>
                          <p:cNvPr id="129" name="Text Box 33"/>
                          <p:cNvSpPr txBox="1">
                            <a:spLocks noChangeArrowheads="1"/>
                          </p:cNvSpPr>
                          <p:nvPr>
                            <p:custDataLst>
                              <p:tags r:id="rId5"/>
                            </p:custDataLst>
                          </p:nvPr>
                        </p:nvSpPr>
                        <p:spPr bwMode="auto">
                          <a:xfrm>
                            <a:off x="2044124" y="6001437"/>
                            <a:ext cx="707086" cy="231790"/>
                          </a:xfrm>
                          <a:prstGeom prst="rect">
                            <a:avLst/>
                          </a:prstGeom>
                          <a:noFill/>
                          <a:ln w="9525">
                            <a:noFill/>
                            <a:miter lim="800000"/>
                            <a:headEnd/>
                            <a:tailEnd/>
                          </a:ln>
                          <a:effectLst/>
                        </p:spPr>
                        <p:txBody>
                          <a:bodyPr wrap="square" lIns="0" tIns="0" rIns="0" bIns="0" anchor="ctr">
                            <a:spAutoFit/>
                          </a:bodyPr>
                          <a:lstStyle/>
                          <a:p>
                            <a:pPr algn="ctr" defTabSz="457200">
                              <a:defRPr/>
                            </a:pPr>
                            <a:r>
                              <a:rPr lang="en-US" sz="800" b="1" dirty="0" smtClean="0">
                                <a:solidFill>
                                  <a:prstClr val="black"/>
                                </a:solidFill>
                                <a:cs typeface="Arial" panose="020B0604020202020204" pitchFamily="34" charset="0"/>
                              </a:rPr>
                              <a:t>Turkestan </a:t>
                            </a:r>
                          </a:p>
                          <a:p>
                            <a:pPr algn="ctr" defTabSz="457200">
                              <a:defRPr/>
                            </a:pPr>
                            <a:r>
                              <a:rPr lang="en-US" sz="800" b="1" dirty="0" smtClean="0">
                                <a:solidFill>
                                  <a:prstClr val="black"/>
                                </a:solidFill>
                                <a:cs typeface="Arial" panose="020B0604020202020204" pitchFamily="34" charset="0"/>
                              </a:rPr>
                              <a:t>region</a:t>
                            </a:r>
                            <a:endParaRPr lang="en-US" sz="800" b="1" dirty="0">
                              <a:solidFill>
                                <a:prstClr val="black"/>
                              </a:solidFill>
                              <a:cs typeface="Arial" panose="020B0604020202020204" pitchFamily="34" charset="0"/>
                            </a:endParaRPr>
                          </a:p>
                        </p:txBody>
                      </p:sp>
                      <p:sp>
                        <p:nvSpPr>
                          <p:cNvPr id="130" name="Text Box 33"/>
                          <p:cNvSpPr txBox="1">
                            <a:spLocks noChangeArrowheads="1"/>
                          </p:cNvSpPr>
                          <p:nvPr>
                            <p:custDataLst>
                              <p:tags r:id="rId6"/>
                            </p:custDataLst>
                          </p:nvPr>
                        </p:nvSpPr>
                        <p:spPr bwMode="auto">
                          <a:xfrm>
                            <a:off x="3506212" y="5110412"/>
                            <a:ext cx="214689" cy="115896"/>
                          </a:xfrm>
                          <a:prstGeom prst="rect">
                            <a:avLst/>
                          </a:prstGeom>
                          <a:noFill/>
                          <a:ln>
                            <a:noFill/>
                          </a:ln>
                          <a:extLst>
                            <a:ext uri="{909E8E84-426E-40DD-AFC4-6F175D3DCCD1}">
                              <a14:hiddenFill xmlns:a14="http://schemas.microsoft.com/office/drawing/2010/main">
                                <a:solidFill>
                                  <a:srgbClr val="FFFFFF"/>
                                </a:solidFill>
                              </a14:hiddenFill>
                            </a:ext>
                            <a:ext uri="{91240B29-F687-4F45-9708-019B960494DF}">
                              <a14:hiddenLine xmlns:a14="http://schemas.microsoft.com/office/drawing/2010/main" w="9525">
                                <a:solidFill>
                                  <a:srgbClr val="000000"/>
                                </a:solidFill>
                                <a:miter lim="800000"/>
                                <a:headEnd/>
                                <a:tailEnd/>
                              </a14:hiddenLine>
                            </a:ext>
                          </a:extLst>
                        </p:spPr>
                        <p:txBody>
                          <a:bodyPr lIns="0" tIns="0" rIns="0" bIns="0" anchor="ctr">
                            <a:spAutoFit/>
                          </a:bodyPr>
                          <a:lstStyle>
                            <a:lvl1pPr>
                              <a:defRPr>
                                <a:solidFill>
                                  <a:schemeClr val="tx1"/>
                                </a:solidFill>
                                <a:latin typeface="Calibri" panose="020F0502020204030204" pitchFamily="34" charset="0"/>
                              </a:defRPr>
                            </a:lvl1pPr>
                            <a:lvl2pPr marL="742950" indent="-285750">
                              <a:defRPr>
                                <a:solidFill>
                                  <a:schemeClr val="tx1"/>
                                </a:solidFill>
                                <a:latin typeface="Calibri" panose="020F0502020204030204" pitchFamily="34" charset="0"/>
                              </a:defRPr>
                            </a:lvl2pPr>
                            <a:lvl3pPr marL="1143000" indent="-228600">
                              <a:defRPr>
                                <a:solidFill>
                                  <a:schemeClr val="tx1"/>
                                </a:solidFill>
                                <a:latin typeface="Calibri" panose="020F0502020204030204" pitchFamily="34" charset="0"/>
                              </a:defRPr>
                            </a:lvl3pPr>
                            <a:lvl4pPr marL="1600200" indent="-228600">
                              <a:defRPr>
                                <a:solidFill>
                                  <a:schemeClr val="tx1"/>
                                </a:solidFill>
                                <a:latin typeface="Calibri" panose="020F0502020204030204" pitchFamily="34" charset="0"/>
                              </a:defRPr>
                            </a:lvl4pPr>
                            <a:lvl5pPr marL="2057400" indent="-228600">
                              <a:defRPr>
                                <a:solidFill>
                                  <a:schemeClr val="tx1"/>
                                </a:solidFill>
                                <a:latin typeface="Calibri" panose="020F0502020204030204" pitchFamily="34" charset="0"/>
                              </a:defRPr>
                            </a:lvl5pPr>
                            <a:lvl6pPr marL="2514600" indent="-228600" defTabSz="457200" fontAlgn="base">
                              <a:spcBef>
                                <a:spcPct val="0"/>
                              </a:spcBef>
                              <a:spcAft>
                                <a:spcPct val="0"/>
                              </a:spcAft>
                              <a:defRPr>
                                <a:solidFill>
                                  <a:schemeClr val="tx1"/>
                                </a:solidFill>
                                <a:latin typeface="Calibri" panose="020F0502020204030204" pitchFamily="34" charset="0"/>
                              </a:defRPr>
                            </a:lvl6pPr>
                            <a:lvl7pPr marL="2971800" indent="-228600" defTabSz="457200" fontAlgn="base">
                              <a:spcBef>
                                <a:spcPct val="0"/>
                              </a:spcBef>
                              <a:spcAft>
                                <a:spcPct val="0"/>
                              </a:spcAft>
                              <a:defRPr>
                                <a:solidFill>
                                  <a:schemeClr val="tx1"/>
                                </a:solidFill>
                                <a:latin typeface="Calibri" panose="020F0502020204030204" pitchFamily="34" charset="0"/>
                              </a:defRPr>
                            </a:lvl7pPr>
                            <a:lvl8pPr marL="3429000" indent="-228600" defTabSz="457200" fontAlgn="base">
                              <a:spcBef>
                                <a:spcPct val="0"/>
                              </a:spcBef>
                              <a:spcAft>
                                <a:spcPct val="0"/>
                              </a:spcAft>
                              <a:defRPr>
                                <a:solidFill>
                                  <a:schemeClr val="tx1"/>
                                </a:solidFill>
                                <a:latin typeface="Calibri" panose="020F0502020204030204" pitchFamily="34" charset="0"/>
                              </a:defRPr>
                            </a:lvl8pPr>
                            <a:lvl9pPr marL="3886200" indent="-228600" defTabSz="457200" fontAlgn="base">
                              <a:spcBef>
                                <a:spcPct val="0"/>
                              </a:spcBef>
                              <a:spcAft>
                                <a:spcPct val="0"/>
                              </a:spcAft>
                              <a:defRPr>
                                <a:solidFill>
                                  <a:schemeClr val="tx1"/>
                                </a:solidFill>
                                <a:latin typeface="Calibri" panose="020F0502020204030204" pitchFamily="34" charset="0"/>
                              </a:defRPr>
                            </a:lvl9pPr>
                          </a:lstStyle>
                          <a:p>
                            <a:pPr algn="ctr" defTabSz="457200" fontAlgn="base">
                              <a:spcBef>
                                <a:spcPct val="0"/>
                              </a:spcBef>
                              <a:spcAft>
                                <a:spcPct val="0"/>
                              </a:spcAft>
                            </a:pPr>
                            <a:r>
                              <a:rPr lang="en-US" altLang="ru-RU" sz="800" b="1" dirty="0" smtClean="0">
                                <a:solidFill>
                                  <a:schemeClr val="bg1"/>
                                </a:solidFill>
                                <a:latin typeface="+mn-lt"/>
                                <a:cs typeface="Arial" panose="020B0604020202020204" pitchFamily="34" charset="0"/>
                              </a:rPr>
                              <a:t>EKR</a:t>
                            </a:r>
                            <a:endParaRPr lang="en-US" altLang="ru-RU" sz="900" b="1" dirty="0">
                              <a:solidFill>
                                <a:schemeClr val="bg1"/>
                              </a:solidFill>
                              <a:latin typeface="+mn-lt"/>
                              <a:cs typeface="Arial" panose="020B0604020202020204" pitchFamily="34" charset="0"/>
                            </a:endParaRPr>
                          </a:p>
                        </p:txBody>
                      </p:sp>
                    </p:grpSp>
                    <p:sp>
                      <p:nvSpPr>
                        <p:cNvPr id="120" name="Rechteckige Legende 583"/>
                        <p:cNvSpPr/>
                        <p:nvPr/>
                      </p:nvSpPr>
                      <p:spPr bwMode="gray">
                        <a:xfrm>
                          <a:off x="2739598" y="5336876"/>
                          <a:ext cx="230490" cy="163824"/>
                        </a:xfrm>
                        <a:prstGeom prst="wedgeRectCallout">
                          <a:avLst>
                            <a:gd name="adj1" fmla="val 93404"/>
                            <a:gd name="adj2" fmla="val -78853"/>
                          </a:avLst>
                        </a:prstGeom>
                        <a:solidFill>
                          <a:srgbClr val="FFFFFF"/>
                        </a:solidFill>
                        <a:ln w="19050">
                          <a:noFill/>
                          <a:round/>
                          <a:headEnd/>
                          <a:tailEnd/>
                        </a:ln>
                        <a:effectLst>
                          <a:outerShdw blurRad="50800" dist="12700" dir="2700000" algn="tl" rotWithShape="0">
                            <a:prstClr val="black">
                              <a:alpha val="30000"/>
                            </a:prstClr>
                          </a:outerShdw>
                        </a:effectLst>
                      </p:spPr>
                      <p:txBody>
                        <a:bodyPr lIns="0" rIns="0" anchor="ctr"/>
                        <a:lstStyle/>
                        <a:p>
                          <a:pPr algn="ctr" defTabSz="457200">
                            <a:defRPr/>
                          </a:pPr>
                          <a:r>
                            <a:rPr lang="kk-KZ" sz="900" b="1" dirty="0">
                              <a:solidFill>
                                <a:srgbClr val="C00000"/>
                              </a:solidFill>
                              <a:cs typeface="Arial" panose="020B0604020202020204" pitchFamily="34" charset="0"/>
                            </a:rPr>
                            <a:t>73,6</a:t>
                          </a:r>
                          <a:endParaRPr lang="de-DE" sz="900" b="1" dirty="0">
                            <a:solidFill>
                              <a:srgbClr val="C00000"/>
                            </a:solidFill>
                            <a:cs typeface="Arial" panose="020B0604020202020204" pitchFamily="34" charset="0"/>
                          </a:endParaRPr>
                        </a:p>
                      </p:txBody>
                    </p:sp>
                    <p:sp>
                      <p:nvSpPr>
                        <p:cNvPr id="121" name="Rechteckige Legende 583"/>
                        <p:cNvSpPr/>
                        <p:nvPr/>
                      </p:nvSpPr>
                      <p:spPr bwMode="gray">
                        <a:xfrm>
                          <a:off x="3942903" y="4663329"/>
                          <a:ext cx="242549" cy="143549"/>
                        </a:xfrm>
                        <a:prstGeom prst="wedgeRectCallout">
                          <a:avLst>
                            <a:gd name="adj1" fmla="val -35792"/>
                            <a:gd name="adj2" fmla="val 85113"/>
                          </a:avLst>
                        </a:prstGeom>
                        <a:solidFill>
                          <a:srgbClr val="FFFFFF"/>
                        </a:solidFill>
                        <a:ln w="19050">
                          <a:solidFill>
                            <a:schemeClr val="bg1"/>
                          </a:solidFill>
                          <a:round/>
                          <a:headEnd/>
                          <a:tailEnd/>
                        </a:ln>
                        <a:effectLst>
                          <a:outerShdw blurRad="50800" dist="12700" dir="2700000" algn="tl" rotWithShape="0">
                            <a:prstClr val="black">
                              <a:alpha val="30000"/>
                            </a:prstClr>
                          </a:outerShdw>
                        </a:effectLst>
                      </p:spPr>
                      <p:txBody>
                        <a:bodyPr lIns="0" rIns="0" anchor="ctr"/>
                        <a:lstStyle/>
                        <a:p>
                          <a:pPr algn="ctr" defTabSz="457200">
                            <a:defRPr/>
                          </a:pPr>
                          <a:r>
                            <a:rPr lang="kk-KZ" sz="900" b="1" dirty="0">
                              <a:cs typeface="Arial" panose="020B0604020202020204" pitchFamily="34" charset="0"/>
                            </a:rPr>
                            <a:t>96,7</a:t>
                          </a:r>
                          <a:endParaRPr lang="de-DE" sz="900" b="1" dirty="0">
                            <a:cs typeface="Arial" panose="020B0604020202020204" pitchFamily="34" charset="0"/>
                          </a:endParaRPr>
                        </a:p>
                      </p:txBody>
                    </p:sp>
                    <p:sp>
                      <p:nvSpPr>
                        <p:cNvPr id="122" name="Rechteckige Legende 583"/>
                        <p:cNvSpPr/>
                        <p:nvPr/>
                      </p:nvSpPr>
                      <p:spPr bwMode="gray">
                        <a:xfrm>
                          <a:off x="3286542" y="4566496"/>
                          <a:ext cx="208472" cy="158682"/>
                        </a:xfrm>
                        <a:prstGeom prst="wedgeRectCallout">
                          <a:avLst>
                            <a:gd name="adj1" fmla="val 21967"/>
                            <a:gd name="adj2" fmla="val -81017"/>
                          </a:avLst>
                        </a:prstGeom>
                        <a:solidFill>
                          <a:srgbClr val="FFFFFF"/>
                        </a:solidFill>
                        <a:ln w="19050">
                          <a:solidFill>
                            <a:schemeClr val="bg1"/>
                          </a:solidFill>
                          <a:round/>
                          <a:headEnd/>
                          <a:tailEnd/>
                        </a:ln>
                        <a:effectLst>
                          <a:outerShdw blurRad="50800" dist="12700" dir="2700000" algn="tl" rotWithShape="0">
                            <a:prstClr val="black">
                              <a:alpha val="30000"/>
                            </a:prstClr>
                          </a:outerShdw>
                        </a:effectLst>
                      </p:spPr>
                      <p:txBody>
                        <a:bodyPr lIns="0" rIns="0" anchor="ctr"/>
                        <a:lstStyle/>
                        <a:p>
                          <a:pPr algn="ctr" defTabSz="457200">
                            <a:defRPr/>
                          </a:pPr>
                          <a:r>
                            <a:rPr lang="kk-KZ" sz="900" b="1" dirty="0">
                              <a:solidFill>
                                <a:srgbClr val="000000"/>
                              </a:solidFill>
                              <a:cs typeface="Arial" panose="020B0604020202020204" pitchFamily="34" charset="0"/>
                            </a:rPr>
                            <a:t>21,3</a:t>
                          </a:r>
                          <a:endParaRPr lang="de-DE" sz="900" b="1" dirty="0">
                            <a:solidFill>
                              <a:srgbClr val="000000"/>
                            </a:solidFill>
                            <a:cs typeface="Arial" panose="020B0604020202020204" pitchFamily="34" charset="0"/>
                          </a:endParaRPr>
                        </a:p>
                      </p:txBody>
                    </p:sp>
                    <p:sp>
                      <p:nvSpPr>
                        <p:cNvPr id="123" name="Rechteckige Legende 583"/>
                        <p:cNvSpPr/>
                        <p:nvPr/>
                      </p:nvSpPr>
                      <p:spPr bwMode="gray">
                        <a:xfrm>
                          <a:off x="1527262" y="4897716"/>
                          <a:ext cx="166915" cy="161528"/>
                        </a:xfrm>
                        <a:prstGeom prst="wedgeRectCallout">
                          <a:avLst>
                            <a:gd name="adj1" fmla="val 18461"/>
                            <a:gd name="adj2" fmla="val 62439"/>
                          </a:avLst>
                        </a:prstGeom>
                        <a:solidFill>
                          <a:srgbClr val="FFFFFF"/>
                        </a:solidFill>
                        <a:ln w="19050">
                          <a:solidFill>
                            <a:schemeClr val="bg1"/>
                          </a:solidFill>
                          <a:round/>
                          <a:headEnd/>
                          <a:tailEnd/>
                        </a:ln>
                        <a:effectLst>
                          <a:outerShdw blurRad="50800" dist="12700" dir="2700000" algn="tl" rotWithShape="0">
                            <a:prstClr val="black">
                              <a:alpha val="30000"/>
                            </a:prstClr>
                          </a:outerShdw>
                        </a:effectLst>
                      </p:spPr>
                      <p:txBody>
                        <a:bodyPr lIns="0" rIns="0" anchor="ctr"/>
                        <a:lstStyle/>
                        <a:p>
                          <a:pPr algn="ctr" defTabSz="457200">
                            <a:defRPr/>
                          </a:pPr>
                          <a:r>
                            <a:rPr lang="kk-KZ" sz="900" b="1" dirty="0">
                              <a:solidFill>
                                <a:srgbClr val="000000"/>
                              </a:solidFill>
                              <a:cs typeface="Arial" panose="020B0604020202020204" pitchFamily="34" charset="0"/>
                            </a:rPr>
                            <a:t>38,3</a:t>
                          </a:r>
                          <a:endParaRPr lang="de-DE" sz="900" b="1" dirty="0">
                            <a:solidFill>
                              <a:srgbClr val="000000"/>
                            </a:solidFill>
                            <a:cs typeface="Arial" panose="020B0604020202020204" pitchFamily="34" charset="0"/>
                          </a:endParaRPr>
                        </a:p>
                      </p:txBody>
                    </p:sp>
                    <p:sp>
                      <p:nvSpPr>
                        <p:cNvPr id="124" name="Rechteckige Legende 583"/>
                        <p:cNvSpPr/>
                        <p:nvPr/>
                      </p:nvSpPr>
                      <p:spPr bwMode="gray">
                        <a:xfrm>
                          <a:off x="3429479" y="5960280"/>
                          <a:ext cx="199072" cy="141334"/>
                        </a:xfrm>
                        <a:prstGeom prst="wedgeRectCallout">
                          <a:avLst>
                            <a:gd name="adj1" fmla="val -24203"/>
                            <a:gd name="adj2" fmla="val -103947"/>
                          </a:avLst>
                        </a:prstGeom>
                        <a:solidFill>
                          <a:srgbClr val="FFFFFF"/>
                        </a:solidFill>
                        <a:ln w="19050">
                          <a:solidFill>
                            <a:schemeClr val="bg1"/>
                          </a:solidFill>
                          <a:round/>
                          <a:headEnd/>
                          <a:tailEnd/>
                        </a:ln>
                        <a:effectLst>
                          <a:outerShdw blurRad="50800" dist="12700" dir="2700000" algn="tl" rotWithShape="0">
                            <a:prstClr val="black">
                              <a:alpha val="30000"/>
                            </a:prstClr>
                          </a:outerShdw>
                        </a:effectLst>
                      </p:spPr>
                      <p:txBody>
                        <a:bodyPr lIns="0" rIns="0" anchor="ctr"/>
                        <a:lstStyle/>
                        <a:p>
                          <a:pPr algn="ctr" defTabSz="457200">
                            <a:defRPr/>
                          </a:pPr>
                          <a:r>
                            <a:rPr lang="kk-KZ" sz="900" b="1" dirty="0">
                              <a:cs typeface="Arial" panose="020B0604020202020204" pitchFamily="34" charset="0"/>
                            </a:rPr>
                            <a:t>69,4</a:t>
                          </a:r>
                          <a:endParaRPr lang="de-DE" sz="900" b="1" dirty="0">
                            <a:cs typeface="Arial" panose="020B0604020202020204" pitchFamily="34" charset="0"/>
                          </a:endParaRPr>
                        </a:p>
                      </p:txBody>
                    </p:sp>
                    <p:sp>
                      <p:nvSpPr>
                        <p:cNvPr id="125" name="Rechteckige Legende 583"/>
                        <p:cNvSpPr/>
                        <p:nvPr/>
                      </p:nvSpPr>
                      <p:spPr bwMode="gray">
                        <a:xfrm>
                          <a:off x="2015934" y="4357511"/>
                          <a:ext cx="208849" cy="189177"/>
                        </a:xfrm>
                        <a:prstGeom prst="wedgeRectCallout">
                          <a:avLst>
                            <a:gd name="adj1" fmla="val -8360"/>
                            <a:gd name="adj2" fmla="val 82461"/>
                          </a:avLst>
                        </a:prstGeom>
                        <a:solidFill>
                          <a:srgbClr val="FFFFFF"/>
                        </a:solidFill>
                        <a:ln w="19050">
                          <a:solidFill>
                            <a:schemeClr val="bg1"/>
                          </a:solidFill>
                          <a:round/>
                          <a:headEnd/>
                          <a:tailEnd/>
                        </a:ln>
                        <a:effectLst>
                          <a:outerShdw blurRad="50800" dist="12700" dir="2700000" algn="tl" rotWithShape="0">
                            <a:prstClr val="black">
                              <a:alpha val="30000"/>
                            </a:prstClr>
                          </a:outerShdw>
                        </a:effectLst>
                      </p:spPr>
                      <p:txBody>
                        <a:bodyPr lIns="0" rIns="0" anchor="ctr"/>
                        <a:lstStyle/>
                        <a:p>
                          <a:pPr algn="ctr" defTabSz="457200">
                            <a:defRPr/>
                          </a:pPr>
                          <a:r>
                            <a:rPr lang="kk-KZ" sz="900" b="1" dirty="0">
                              <a:solidFill>
                                <a:srgbClr val="000000"/>
                              </a:solidFill>
                              <a:cs typeface="Arial" panose="020B0604020202020204" pitchFamily="34" charset="0"/>
                            </a:rPr>
                            <a:t>27,8</a:t>
                          </a:r>
                          <a:endParaRPr lang="de-DE" sz="900" b="1" dirty="0">
                            <a:solidFill>
                              <a:srgbClr val="000000"/>
                            </a:solidFill>
                            <a:cs typeface="Arial" panose="020B0604020202020204" pitchFamily="34" charset="0"/>
                          </a:endParaRPr>
                        </a:p>
                      </p:txBody>
                    </p:sp>
                    <p:sp>
                      <p:nvSpPr>
                        <p:cNvPr id="126" name="Rechteckige Legende 583"/>
                        <p:cNvSpPr/>
                        <p:nvPr/>
                      </p:nvSpPr>
                      <p:spPr bwMode="gray">
                        <a:xfrm>
                          <a:off x="2516794" y="4543849"/>
                          <a:ext cx="169630" cy="161906"/>
                        </a:xfrm>
                        <a:prstGeom prst="wedgeRectCallout">
                          <a:avLst>
                            <a:gd name="adj1" fmla="val -16544"/>
                            <a:gd name="adj2" fmla="val -72210"/>
                          </a:avLst>
                        </a:prstGeom>
                        <a:solidFill>
                          <a:srgbClr val="FFFFFF"/>
                        </a:solidFill>
                        <a:ln w="19050">
                          <a:noFill/>
                          <a:round/>
                          <a:headEnd/>
                          <a:tailEnd/>
                        </a:ln>
                        <a:effectLst>
                          <a:outerShdw blurRad="50800" dist="12700" dir="2700000" algn="tl" rotWithShape="0">
                            <a:prstClr val="black">
                              <a:alpha val="30000"/>
                            </a:prstClr>
                          </a:outerShdw>
                        </a:effectLst>
                      </p:spPr>
                      <p:txBody>
                        <a:bodyPr lIns="0" rIns="0" anchor="ctr"/>
                        <a:lstStyle/>
                        <a:p>
                          <a:pPr algn="ctr" defTabSz="457200">
                            <a:defRPr/>
                          </a:pPr>
                          <a:r>
                            <a:rPr lang="kk-KZ" sz="900" b="1" dirty="0">
                              <a:solidFill>
                                <a:srgbClr val="000000"/>
                              </a:solidFill>
                              <a:cs typeface="Arial" panose="020B0604020202020204" pitchFamily="34" charset="0"/>
                            </a:rPr>
                            <a:t>39,2</a:t>
                          </a:r>
                          <a:endParaRPr lang="de-DE" sz="900" b="1" dirty="0">
                            <a:solidFill>
                              <a:srgbClr val="000000"/>
                            </a:solidFill>
                            <a:cs typeface="Arial" panose="020B0604020202020204" pitchFamily="34" charset="0"/>
                          </a:endParaRPr>
                        </a:p>
                      </p:txBody>
                    </p:sp>
                  </p:grpSp>
                  <p:sp>
                    <p:nvSpPr>
                      <p:cNvPr id="116" name="Rechteckige Legende 583"/>
                      <p:cNvSpPr/>
                      <p:nvPr/>
                    </p:nvSpPr>
                    <p:spPr bwMode="gray">
                      <a:xfrm>
                        <a:off x="507583" y="7013423"/>
                        <a:ext cx="382701" cy="214626"/>
                      </a:xfrm>
                      <a:prstGeom prst="wedgeRectCallout">
                        <a:avLst>
                          <a:gd name="adj1" fmla="val 60088"/>
                          <a:gd name="adj2" fmla="val -111911"/>
                        </a:avLst>
                      </a:prstGeom>
                      <a:solidFill>
                        <a:srgbClr val="FFFFFF"/>
                      </a:solidFill>
                      <a:ln w="19050">
                        <a:noFill/>
                        <a:round/>
                        <a:headEnd/>
                        <a:tailEnd/>
                      </a:ln>
                      <a:effectLst>
                        <a:outerShdw blurRad="50800" dist="12700" dir="2700000" algn="tl" rotWithShape="0">
                          <a:prstClr val="black">
                            <a:alpha val="30000"/>
                          </a:prstClr>
                        </a:outerShdw>
                      </a:effectLst>
                    </p:spPr>
                    <p:txBody>
                      <a:bodyPr lIns="0" rIns="0" anchor="ctr"/>
                      <a:lstStyle/>
                      <a:p>
                        <a:pPr algn="ctr" defTabSz="457200">
                          <a:defRPr/>
                        </a:pPr>
                        <a:r>
                          <a:rPr lang="kk-KZ" sz="900" b="1" dirty="0">
                            <a:solidFill>
                              <a:srgbClr val="C00000"/>
                            </a:solidFill>
                            <a:cs typeface="Arial" panose="020B0604020202020204" pitchFamily="34" charset="0"/>
                          </a:rPr>
                          <a:t>110,8</a:t>
                        </a:r>
                        <a:endParaRPr lang="de-DE" sz="900" b="1" dirty="0">
                          <a:solidFill>
                            <a:srgbClr val="C00000"/>
                          </a:solidFill>
                          <a:cs typeface="Arial" panose="020B0604020202020204" pitchFamily="34" charset="0"/>
                        </a:endParaRPr>
                      </a:p>
                    </p:txBody>
                  </p:sp>
                  <p:sp>
                    <p:nvSpPr>
                      <p:cNvPr id="117" name="Rechteckige Legende 583"/>
                      <p:cNvSpPr/>
                      <p:nvPr/>
                    </p:nvSpPr>
                    <p:spPr bwMode="gray">
                      <a:xfrm>
                        <a:off x="687543" y="5897994"/>
                        <a:ext cx="215033" cy="228585"/>
                      </a:xfrm>
                      <a:prstGeom prst="wedgeRectCallout">
                        <a:avLst>
                          <a:gd name="adj1" fmla="val -72085"/>
                          <a:gd name="adj2" fmla="val 40334"/>
                        </a:avLst>
                      </a:prstGeom>
                      <a:solidFill>
                        <a:srgbClr val="FFFFFF"/>
                      </a:solidFill>
                      <a:ln w="19050">
                        <a:solidFill>
                          <a:schemeClr val="bg1"/>
                        </a:solidFill>
                        <a:round/>
                        <a:headEnd/>
                        <a:tailEnd/>
                      </a:ln>
                      <a:effectLst>
                        <a:outerShdw blurRad="50800" dist="12700" dir="2700000" algn="tl" rotWithShape="0">
                          <a:prstClr val="black">
                            <a:alpha val="30000"/>
                          </a:prstClr>
                        </a:outerShdw>
                      </a:effectLst>
                    </p:spPr>
                    <p:txBody>
                      <a:bodyPr lIns="0" rIns="0" anchor="ctr"/>
                      <a:lstStyle/>
                      <a:p>
                        <a:pPr algn="ctr" defTabSz="457200">
                          <a:defRPr/>
                        </a:pPr>
                        <a:r>
                          <a:rPr lang="kk-KZ" sz="900" b="1" dirty="0">
                            <a:solidFill>
                              <a:srgbClr val="000000"/>
                            </a:solidFill>
                            <a:cs typeface="Arial" panose="020B0604020202020204" pitchFamily="34" charset="0"/>
                          </a:rPr>
                          <a:t>6,9</a:t>
                        </a:r>
                        <a:endParaRPr lang="de-DE" sz="900" b="1" dirty="0">
                          <a:solidFill>
                            <a:srgbClr val="000000"/>
                          </a:solidFill>
                          <a:cs typeface="Arial" panose="020B0604020202020204" pitchFamily="34" charset="0"/>
                        </a:endParaRPr>
                      </a:p>
                    </p:txBody>
                  </p:sp>
                  <p:sp>
                    <p:nvSpPr>
                      <p:cNvPr id="118" name="Rechteckige Legende 583"/>
                      <p:cNvSpPr/>
                      <p:nvPr/>
                    </p:nvSpPr>
                    <p:spPr bwMode="gray">
                      <a:xfrm>
                        <a:off x="-2010505" y="6644234"/>
                        <a:ext cx="276125" cy="179839"/>
                      </a:xfrm>
                      <a:prstGeom prst="wedgeRectCallout">
                        <a:avLst>
                          <a:gd name="adj1" fmla="val -36789"/>
                          <a:gd name="adj2" fmla="val 83429"/>
                        </a:avLst>
                      </a:prstGeom>
                      <a:solidFill>
                        <a:srgbClr val="FFFFFF"/>
                      </a:solidFill>
                      <a:ln w="19050">
                        <a:solidFill>
                          <a:schemeClr val="bg1"/>
                        </a:solidFill>
                        <a:round/>
                        <a:headEnd/>
                        <a:tailEnd/>
                      </a:ln>
                      <a:effectLst>
                        <a:outerShdw blurRad="50800" dist="12700" dir="2700000" algn="tl" rotWithShape="0">
                          <a:prstClr val="black">
                            <a:alpha val="30000"/>
                          </a:prstClr>
                        </a:outerShdw>
                      </a:effectLst>
                    </p:spPr>
                    <p:txBody>
                      <a:bodyPr lIns="0" rIns="0" anchor="ctr"/>
                      <a:lstStyle/>
                      <a:p>
                        <a:pPr algn="ctr" defTabSz="457200">
                          <a:defRPr/>
                        </a:pPr>
                        <a:r>
                          <a:rPr lang="kk-KZ" sz="900" b="1" dirty="0">
                            <a:solidFill>
                              <a:srgbClr val="000000"/>
                            </a:solidFill>
                            <a:cs typeface="Arial" panose="020B0604020202020204" pitchFamily="34" charset="0"/>
                          </a:rPr>
                          <a:t>12,7</a:t>
                        </a:r>
                        <a:endParaRPr lang="de-DE" sz="900" b="1" dirty="0">
                          <a:solidFill>
                            <a:srgbClr val="000000"/>
                          </a:solidFill>
                          <a:cs typeface="Arial" panose="020B0604020202020204" pitchFamily="34" charset="0"/>
                        </a:endParaRPr>
                      </a:p>
                    </p:txBody>
                  </p:sp>
                </p:grpSp>
                <p:sp>
                  <p:nvSpPr>
                    <p:cNvPr id="108" name="Text Box 23"/>
                    <p:cNvSpPr txBox="1">
                      <a:spLocks noChangeArrowheads="1"/>
                    </p:cNvSpPr>
                    <p:nvPr>
                      <p:custDataLst>
                        <p:tags r:id="rId2"/>
                      </p:custDataLst>
                    </p:nvPr>
                  </p:nvSpPr>
                  <p:spPr bwMode="auto">
                    <a:xfrm>
                      <a:off x="900410" y="6866545"/>
                      <a:ext cx="609734" cy="189020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</p:spPr>
                  <p:txBody>
                    <a:bodyPr wrap="none" lIns="0" tIns="0" rIns="0" bIns="0" anchor="ctr">
                      <a:spAutoFit/>
                    </a:bodyPr>
                    <a:lstStyle>
                      <a:lvl1pPr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742950" indent="-285750"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algn="ctr" defTabSz="457200">
                        <a:defRPr/>
                      </a:pPr>
                      <a:r>
                        <a:rPr lang="en-US" sz="900" b="1" u="sng" dirty="0" err="1" smtClean="0">
                          <a:solidFill>
                            <a:srgbClr val="000000"/>
                          </a:solidFill>
                          <a:latin typeface="+mj-lt"/>
                          <a:cs typeface="Arial" panose="020B0604020202020204" pitchFamily="34" charset="0"/>
                        </a:rPr>
                        <a:t>Nur</a:t>
                      </a:r>
                      <a:r>
                        <a:rPr lang="ru-RU" sz="900" b="1" u="sng" dirty="0" smtClean="0">
                          <a:solidFill>
                            <a:srgbClr val="000000"/>
                          </a:solidFill>
                          <a:latin typeface="+mj-lt"/>
                          <a:cs typeface="Arial" panose="020B0604020202020204" pitchFamily="34" charset="0"/>
                        </a:rPr>
                        <a:t>-</a:t>
                      </a:r>
                      <a:r>
                        <a:rPr lang="en-US" sz="900" b="1" u="sng" dirty="0" smtClean="0">
                          <a:solidFill>
                            <a:srgbClr val="000000"/>
                          </a:solidFill>
                          <a:latin typeface="+mj-lt"/>
                          <a:cs typeface="Arial" panose="020B0604020202020204" pitchFamily="34" charset="0"/>
                        </a:rPr>
                        <a:t>Sultan</a:t>
                      </a:r>
                      <a:endParaRPr lang="en-US" sz="900" u="sng" dirty="0">
                        <a:solidFill>
                          <a:srgbClr val="000000"/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09" name="Text Box 23"/>
                    <p:cNvSpPr txBox="1">
                      <a:spLocks noChangeArrowheads="1"/>
                    </p:cNvSpPr>
                    <p:nvPr>
                      <p:custDataLst>
                        <p:tags r:id="rId3"/>
                      </p:custDataLst>
                    </p:nvPr>
                  </p:nvSpPr>
                  <p:spPr bwMode="auto">
                    <a:xfrm>
                      <a:off x="1868429" y="8207068"/>
                      <a:ext cx="424606" cy="189020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</p:spPr>
                  <p:txBody>
                    <a:bodyPr wrap="none" lIns="0" tIns="0" rIns="0" bIns="0" anchor="ctr">
                      <a:spAutoFit/>
                    </a:bodyPr>
                    <a:lstStyle>
                      <a:lvl1pPr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742950" indent="-285750"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1143000" indent="-228600"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600200" indent="-228600"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2057400" indent="-228600"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514600" indent="-22860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971800" indent="-22860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429000" indent="-22860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886200" indent="-228600" fontAlgn="base">
                        <a:spcBef>
                          <a:spcPct val="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algn="ctr" defTabSz="457200">
                        <a:defRPr/>
                      </a:pPr>
                      <a:r>
                        <a:rPr lang="en-US" sz="900" b="1" u="sng" dirty="0" smtClean="0">
                          <a:solidFill>
                            <a:prstClr val="black"/>
                          </a:solidFill>
                          <a:latin typeface="+mn-lt"/>
                          <a:cs typeface="Arial" panose="020B0604020202020204" pitchFamily="34" charset="0"/>
                        </a:rPr>
                        <a:t>Almaty</a:t>
                      </a:r>
                      <a:endParaRPr lang="en-US" sz="800" u="sng" dirty="0">
                        <a:solidFill>
                          <a:srgbClr val="E7E6E6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10" name="Rechteckige Legende 583"/>
                    <p:cNvSpPr/>
                    <p:nvPr/>
                  </p:nvSpPr>
                  <p:spPr bwMode="gray">
                    <a:xfrm>
                      <a:off x="2249153" y="7982750"/>
                      <a:ext cx="351149" cy="235702"/>
                    </a:xfrm>
                    <a:prstGeom prst="wedgeRectCallout">
                      <a:avLst>
                        <a:gd name="adj1" fmla="val -62967"/>
                        <a:gd name="adj2" fmla="val -30861"/>
                      </a:avLst>
                    </a:prstGeom>
                    <a:solidFill>
                      <a:srgbClr val="FFFFFF"/>
                    </a:solidFill>
                    <a:ln w="19050">
                      <a:noFill/>
                      <a:round/>
                      <a:headEnd/>
                      <a:tailEnd/>
                    </a:ln>
                    <a:effectLst>
                      <a:outerShdw blurRad="50800" dist="12700" dir="2700000" algn="tl" rotWithShape="0">
                        <a:prstClr val="black">
                          <a:alpha val="30000"/>
                        </a:prstClr>
                      </a:outerShdw>
                    </a:effectLst>
                  </p:spPr>
                  <p:txBody>
                    <a:bodyPr lIns="0" rIns="0" anchor="ctr"/>
                    <a:lstStyle/>
                    <a:p>
                      <a:pPr algn="ctr" defTabSz="457200">
                        <a:defRPr/>
                      </a:pPr>
                      <a:r>
                        <a:rPr lang="kk-KZ" sz="900" b="1" dirty="0">
                          <a:solidFill>
                            <a:srgbClr val="000000"/>
                          </a:solidFill>
                          <a:cs typeface="Arial" panose="020B0604020202020204" pitchFamily="34" charset="0"/>
                        </a:rPr>
                        <a:t>91,4</a:t>
                      </a:r>
                      <a:endParaRPr lang="de-DE" sz="900" b="1" dirty="0">
                        <a:solidFill>
                          <a:srgbClr val="000000"/>
                        </a:solidFill>
                        <a:cs typeface="Arial" panose="020B0604020202020204" pitchFamily="34" charset="0"/>
                      </a:endParaRPr>
                    </a:p>
                  </p:txBody>
                </p:sp>
              </p:grpSp>
              <p:sp>
                <p:nvSpPr>
                  <p:cNvPr id="103" name="Rechteckige Legende 583"/>
                  <p:cNvSpPr/>
                  <p:nvPr/>
                </p:nvSpPr>
                <p:spPr bwMode="gray">
                  <a:xfrm>
                    <a:off x="362779" y="8751930"/>
                    <a:ext cx="295178" cy="209491"/>
                  </a:xfrm>
                  <a:prstGeom prst="wedgeRectCallout">
                    <a:avLst>
                      <a:gd name="adj1" fmla="val -22310"/>
                      <a:gd name="adj2" fmla="val -63405"/>
                    </a:avLst>
                  </a:prstGeom>
                  <a:solidFill>
                    <a:srgbClr val="FFFFFF"/>
                  </a:solidFill>
                  <a:ln w="19050">
                    <a:solidFill>
                      <a:schemeClr val="bg1"/>
                    </a:solidFill>
                    <a:round/>
                    <a:headEnd/>
                    <a:tailEnd/>
                  </a:ln>
                  <a:effectLst>
                    <a:outerShdw blurRad="50800" dist="12700" dir="2700000" algn="tl" rotWithShape="0">
                      <a:prstClr val="black">
                        <a:alpha val="30000"/>
                      </a:prstClr>
                    </a:outerShdw>
                  </a:effectLst>
                </p:spPr>
                <p:txBody>
                  <a:bodyPr lIns="0" rIns="0" anchor="ctr"/>
                  <a:lstStyle/>
                  <a:p>
                    <a:pPr algn="ctr" defTabSz="457200">
                      <a:defRPr/>
                    </a:pPr>
                    <a:r>
                      <a:rPr lang="kk-KZ" sz="900" b="1" dirty="0">
                        <a:solidFill>
                          <a:srgbClr val="000000"/>
                        </a:solidFill>
                        <a:cs typeface="Arial" panose="020B0604020202020204" pitchFamily="34" charset="0"/>
                      </a:rPr>
                      <a:t>21,0</a:t>
                    </a:r>
                    <a:endParaRPr lang="de-DE" sz="900" b="1" dirty="0">
                      <a:solidFill>
                        <a:srgbClr val="000000"/>
                      </a:solidFill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04" name="Rechteckige Legende 583"/>
                  <p:cNvSpPr/>
                  <p:nvPr/>
                </p:nvSpPr>
                <p:spPr bwMode="gray">
                  <a:xfrm>
                    <a:off x="1168929" y="8461188"/>
                    <a:ext cx="306940" cy="205821"/>
                  </a:xfrm>
                  <a:prstGeom prst="wedgeRectCallout">
                    <a:avLst>
                      <a:gd name="adj1" fmla="val -29760"/>
                      <a:gd name="adj2" fmla="val -72474"/>
                    </a:avLst>
                  </a:prstGeom>
                  <a:solidFill>
                    <a:srgbClr val="FFFFFF"/>
                  </a:solidFill>
                  <a:ln w="19050">
                    <a:noFill/>
                    <a:round/>
                    <a:headEnd/>
                    <a:tailEnd/>
                  </a:ln>
                  <a:effectLst>
                    <a:outerShdw blurRad="50800" dist="12700" dir="2700000" algn="tl" rotWithShape="0">
                      <a:prstClr val="black">
                        <a:alpha val="30000"/>
                      </a:prstClr>
                    </a:outerShdw>
                  </a:effectLst>
                </p:spPr>
                <p:txBody>
                  <a:bodyPr lIns="0" rIns="0" anchor="ctr"/>
                  <a:lstStyle/>
                  <a:p>
                    <a:pPr algn="ctr" defTabSz="457200">
                      <a:defRPr/>
                    </a:pPr>
                    <a:r>
                      <a:rPr lang="kk-KZ" sz="900" b="1" dirty="0">
                        <a:solidFill>
                          <a:srgbClr val="000000"/>
                        </a:solidFill>
                        <a:cs typeface="Arial" panose="020B0604020202020204" pitchFamily="34" charset="0"/>
                      </a:rPr>
                      <a:t>42,6</a:t>
                    </a:r>
                    <a:endParaRPr lang="de-DE" sz="900" b="1" dirty="0">
                      <a:solidFill>
                        <a:srgbClr val="000000"/>
                      </a:solidFill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05" name="Rechteckige Legende 583"/>
                  <p:cNvSpPr/>
                  <p:nvPr/>
                </p:nvSpPr>
                <p:spPr bwMode="gray">
                  <a:xfrm>
                    <a:off x="-557108" y="7797814"/>
                    <a:ext cx="276040" cy="226042"/>
                  </a:xfrm>
                  <a:prstGeom prst="wedgeRectCallout">
                    <a:avLst>
                      <a:gd name="adj1" fmla="val -6109"/>
                      <a:gd name="adj2" fmla="val 90835"/>
                    </a:avLst>
                  </a:prstGeom>
                  <a:solidFill>
                    <a:srgbClr val="FFFFFF"/>
                  </a:solidFill>
                  <a:ln w="19050">
                    <a:solidFill>
                      <a:schemeClr val="bg1"/>
                    </a:solidFill>
                    <a:round/>
                    <a:headEnd/>
                    <a:tailEnd/>
                  </a:ln>
                  <a:effectLst>
                    <a:outerShdw blurRad="50800" dist="12700" dir="2700000" algn="tl" rotWithShape="0">
                      <a:prstClr val="black">
                        <a:alpha val="30000"/>
                      </a:prstClr>
                    </a:outerShdw>
                  </a:effectLst>
                </p:spPr>
                <p:txBody>
                  <a:bodyPr lIns="0" rIns="0" anchor="ctr"/>
                  <a:lstStyle/>
                  <a:p>
                    <a:pPr algn="ctr" defTabSz="457200">
                      <a:defRPr/>
                    </a:pPr>
                    <a:r>
                      <a:rPr lang="kk-KZ" sz="900" b="1" dirty="0">
                        <a:solidFill>
                          <a:srgbClr val="000000"/>
                        </a:solidFill>
                        <a:cs typeface="Arial" panose="020B0604020202020204" pitchFamily="34" charset="0"/>
                      </a:rPr>
                      <a:t>33,7</a:t>
                    </a:r>
                    <a:endParaRPr lang="de-DE" sz="900" b="1" dirty="0">
                      <a:solidFill>
                        <a:srgbClr val="000000"/>
                      </a:solidFill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06" name="Rechteckige Legende 583"/>
                  <p:cNvSpPr/>
                  <p:nvPr/>
                </p:nvSpPr>
                <p:spPr bwMode="gray">
                  <a:xfrm>
                    <a:off x="-1916827" y="8616896"/>
                    <a:ext cx="304380" cy="219705"/>
                  </a:xfrm>
                  <a:prstGeom prst="wedgeRectCallout">
                    <a:avLst>
                      <a:gd name="adj1" fmla="val -13731"/>
                      <a:gd name="adj2" fmla="val -83657"/>
                    </a:avLst>
                  </a:prstGeom>
                  <a:solidFill>
                    <a:srgbClr val="FFFFFF"/>
                  </a:solidFill>
                  <a:ln w="19050">
                    <a:solidFill>
                      <a:schemeClr val="bg1"/>
                    </a:solidFill>
                    <a:round/>
                    <a:headEnd/>
                    <a:tailEnd/>
                  </a:ln>
                  <a:effectLst>
                    <a:outerShdw blurRad="50800" dist="12700" dir="2700000" algn="tl" rotWithShape="0">
                      <a:prstClr val="black">
                        <a:alpha val="30000"/>
                      </a:prstClr>
                    </a:outerShdw>
                  </a:effectLst>
                </p:spPr>
                <p:txBody>
                  <a:bodyPr lIns="0" rIns="0" anchor="ctr"/>
                  <a:lstStyle/>
                  <a:p>
                    <a:pPr algn="ctr" defTabSz="457200">
                      <a:defRPr/>
                    </a:pPr>
                    <a:r>
                      <a:rPr lang="kk-KZ" sz="900" b="1" dirty="0">
                        <a:solidFill>
                          <a:srgbClr val="000000"/>
                        </a:solidFill>
                        <a:cs typeface="Arial" panose="020B0604020202020204" pitchFamily="34" charset="0"/>
                      </a:rPr>
                      <a:t>29,5</a:t>
                    </a:r>
                    <a:endParaRPr lang="de-DE" sz="900" b="1" dirty="0">
                      <a:solidFill>
                        <a:srgbClr val="000000"/>
                      </a:solidFill>
                      <a:cs typeface="Arial" panose="020B0604020202020204" pitchFamily="34" charset="0"/>
                    </a:endParaRPr>
                  </a:p>
                </p:txBody>
              </p:sp>
            </p:grpSp>
            <p:sp>
              <p:nvSpPr>
                <p:cNvPr id="99" name="Овал 98"/>
                <p:cNvSpPr/>
                <p:nvPr/>
              </p:nvSpPr>
              <p:spPr>
                <a:xfrm>
                  <a:off x="839115" y="6761110"/>
                  <a:ext cx="94523" cy="87494"/>
                </a:xfrm>
                <a:prstGeom prst="ellipse">
                  <a:avLst/>
                </a:prstGeom>
                <a:solidFill>
                  <a:srgbClr val="C00000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defTabSz="457200">
                    <a:defRPr/>
                  </a:pPr>
                  <a:endParaRPr lang="ru-RU" sz="105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00" name="Овал 99"/>
                <p:cNvSpPr/>
                <p:nvPr/>
              </p:nvSpPr>
              <p:spPr>
                <a:xfrm>
                  <a:off x="1729809" y="8404817"/>
                  <a:ext cx="94524" cy="87495"/>
                </a:xfrm>
                <a:prstGeom prst="ellipse">
                  <a:avLst/>
                </a:prstGeom>
                <a:solidFill>
                  <a:srgbClr val="C00000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defTabSz="457200">
                    <a:defRPr/>
                  </a:pPr>
                  <a:endParaRPr lang="ru-RU" sz="105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01" name="Овал 100">
                  <a:extLst>
                    <a:ext uri="{FF2B5EF4-FFF2-40B4-BE49-F238E27FC236}">
                      <a16:creationId xmlns:a16="http://schemas.microsoft.com/office/drawing/2014/main" xmlns="" id="{C0E777A9-48C9-4B74-A224-68FB8BDEE342}"/>
                    </a:ext>
                  </a:extLst>
                </p:cNvPr>
                <p:cNvSpPr/>
                <p:nvPr/>
              </p:nvSpPr>
              <p:spPr>
                <a:xfrm>
                  <a:off x="599677" y="8972134"/>
                  <a:ext cx="94524" cy="87495"/>
                </a:xfrm>
                <a:prstGeom prst="ellipse">
                  <a:avLst/>
                </a:prstGeom>
                <a:solidFill>
                  <a:srgbClr val="C00000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defTabSz="457200">
                    <a:defRPr/>
                  </a:pPr>
                  <a:endParaRPr lang="ru-RU" sz="1050">
                    <a:solidFill>
                      <a:prstClr val="white"/>
                    </a:solidFill>
                  </a:endParaRPr>
                </a:p>
              </p:txBody>
            </p:sp>
          </p:grpSp>
          <p:sp>
            <p:nvSpPr>
              <p:cNvPr id="97" name="Rechteckige Legende 583"/>
              <p:cNvSpPr/>
              <p:nvPr/>
            </p:nvSpPr>
            <p:spPr bwMode="gray">
              <a:xfrm>
                <a:off x="1281985" y="7641586"/>
                <a:ext cx="242808" cy="217364"/>
              </a:xfrm>
              <a:prstGeom prst="wedgeRectCallout">
                <a:avLst>
                  <a:gd name="adj1" fmla="val -16380"/>
                  <a:gd name="adj2" fmla="val -84997"/>
                </a:avLst>
              </a:prstGeom>
              <a:solidFill>
                <a:srgbClr val="FFFFFF"/>
              </a:solidFill>
              <a:ln w="19050">
                <a:noFill/>
                <a:round/>
                <a:headEnd/>
                <a:tailEnd/>
              </a:ln>
              <a:effectLst>
                <a:outerShdw blurRad="50800" dist="12700" dir="2700000" algn="tl" rotWithShape="0">
                  <a:prstClr val="black">
                    <a:alpha val="30000"/>
                  </a:prstClr>
                </a:outerShdw>
              </a:effectLst>
            </p:spPr>
            <p:txBody>
              <a:bodyPr lIns="0" rIns="0" anchor="ctr"/>
              <a:lstStyle/>
              <a:p>
                <a:pPr algn="ctr" defTabSz="457200">
                  <a:defRPr/>
                </a:pPr>
                <a:r>
                  <a:rPr lang="kk-KZ" sz="900" b="1" dirty="0">
                    <a:solidFill>
                      <a:srgbClr val="000000"/>
                    </a:solidFill>
                    <a:cs typeface="Arial" panose="020B0604020202020204" pitchFamily="34" charset="0"/>
                  </a:rPr>
                  <a:t>13,9</a:t>
                </a:r>
                <a:endParaRPr lang="de-DE" sz="900" b="1" dirty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  <p:sp>
          <p:nvSpPr>
            <p:cNvPr id="94" name="Text Box 23">
              <a:extLst>
                <a:ext uri="{FF2B5EF4-FFF2-40B4-BE49-F238E27FC236}">
                  <a16:creationId xmlns:a16="http://schemas.microsoft.com/office/drawing/2014/main" xmlns="" id="{BC43CF28-3DEE-46D7-AEEC-1B95D278A8D4}"/>
                </a:ext>
              </a:extLst>
            </p:cNvPr>
            <p:cNvSpPr txBox="1"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3576796" y="9029677"/>
              <a:ext cx="493893" cy="142658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 defTabSz="457200">
                <a:defRPr/>
              </a:pPr>
              <a:r>
                <a:rPr lang="en-US" sz="800" b="1" u="sng" dirty="0" err="1" smtClean="0">
                  <a:solidFill>
                    <a:prstClr val="black"/>
                  </a:solidFill>
                  <a:latin typeface="+mn-lt"/>
                  <a:cs typeface="Arial" panose="020B0604020202020204" pitchFamily="34" charset="0"/>
                </a:rPr>
                <a:t>Shymkent</a:t>
              </a:r>
              <a:endParaRPr lang="en-US" sz="800" u="sng" dirty="0">
                <a:solidFill>
                  <a:srgbClr val="E7E6E6"/>
                </a:solidFill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95" name="Rechteckige Legende 583">
              <a:extLst>
                <a:ext uri="{FF2B5EF4-FFF2-40B4-BE49-F238E27FC236}">
                  <a16:creationId xmlns:a16="http://schemas.microsoft.com/office/drawing/2014/main" xmlns="" id="{9B2B00F7-D64D-43E9-88B7-B5B838B0E83B}"/>
                </a:ext>
              </a:extLst>
            </p:cNvPr>
            <p:cNvSpPr/>
            <p:nvPr/>
          </p:nvSpPr>
          <p:spPr bwMode="gray">
            <a:xfrm>
              <a:off x="4105069" y="8918793"/>
              <a:ext cx="314509" cy="199062"/>
            </a:xfrm>
            <a:prstGeom prst="wedgeRectCallout">
              <a:avLst>
                <a:gd name="adj1" fmla="val -68275"/>
                <a:gd name="adj2" fmla="val -27320"/>
              </a:avLst>
            </a:prstGeom>
            <a:solidFill>
              <a:srgbClr val="FFFFFF"/>
            </a:solidFill>
            <a:ln w="19050">
              <a:solidFill>
                <a:schemeClr val="bg1"/>
              </a:solidFill>
              <a:round/>
              <a:headEnd/>
              <a:tailEnd/>
            </a:ln>
            <a:effectLst>
              <a:outerShdw blurRad="50800" dist="12700" dir="2700000" algn="tl" rotWithShape="0">
                <a:prstClr val="black">
                  <a:alpha val="30000"/>
                </a:prstClr>
              </a:outerShdw>
            </a:effectLst>
          </p:spPr>
          <p:txBody>
            <a:bodyPr lIns="0" rIns="0" anchor="ctr"/>
            <a:lstStyle/>
            <a:p>
              <a:pPr algn="ctr" defTabSz="457200">
                <a:defRPr/>
              </a:pPr>
              <a:r>
                <a:rPr lang="kk-KZ" sz="900" b="1" dirty="0">
                  <a:solidFill>
                    <a:srgbClr val="FF0000"/>
                  </a:solidFill>
                  <a:cs typeface="Arial" panose="020B0604020202020204" pitchFamily="34" charset="0"/>
                </a:rPr>
                <a:t>91,6</a:t>
              </a:r>
              <a:endParaRPr lang="de-DE" sz="900" b="1" dirty="0">
                <a:solidFill>
                  <a:srgbClr val="FF0000"/>
                </a:solidFill>
                <a:cs typeface="Arial" panose="020B0604020202020204" pitchFamily="34" charset="0"/>
              </a:endParaRPr>
            </a:p>
          </p:txBody>
        </p:sp>
      </p:grpSp>
      <p:sp>
        <p:nvSpPr>
          <p:cNvPr id="157" name="TextBox 14">
            <a:extLst>
              <a:ext uri="{FF2B5EF4-FFF2-40B4-BE49-F238E27FC236}">
                <a16:creationId xmlns:a16="http://schemas.microsoft.com/office/drawing/2014/main" xmlns="" id="{851EB3F8-96AF-2342-8FE4-F10CD69AAFC1}"/>
              </a:ext>
            </a:extLst>
          </p:cNvPr>
          <p:cNvSpPr txBox="1"/>
          <p:nvPr/>
        </p:nvSpPr>
        <p:spPr>
          <a:xfrm>
            <a:off x="379407" y="5824697"/>
            <a:ext cx="633416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ru-RU" sz="1100" b="1" cap="all" dirty="0">
                <a:solidFill>
                  <a:schemeClr val="bg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Production volume by region in January-November 2021, </a:t>
            </a:r>
            <a:r>
              <a:rPr lang="en-US" altLang="ru-RU" sz="1100" b="1" cap="all" dirty="0" err="1" smtClean="0">
                <a:solidFill>
                  <a:schemeClr val="bg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bln</a:t>
            </a:r>
            <a:r>
              <a:rPr lang="en-US" altLang="ru-RU" sz="1100" b="1" cap="all" dirty="0" smtClean="0">
                <a:solidFill>
                  <a:schemeClr val="bg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altLang="ru-RU" sz="1100" b="1" cap="all" dirty="0" err="1">
                <a:solidFill>
                  <a:schemeClr val="bg1">
                    <a:lumMod val="75000"/>
                  </a:schemeClr>
                </a:solidFill>
                <a:latin typeface="+mj-lt"/>
                <a:ea typeface="+mj-ea"/>
                <a:cs typeface="+mj-cs"/>
              </a:rPr>
              <a:t>tenge</a:t>
            </a:r>
            <a:endParaRPr lang="de-DE" altLang="ru-RU" sz="1100" b="1" cap="all" dirty="0">
              <a:solidFill>
                <a:schemeClr val="bg1">
                  <a:lumMod val="75000"/>
                </a:schemeClr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88" name="Заголовок 1"/>
          <p:cNvSpPr txBox="1">
            <a:spLocks/>
          </p:cNvSpPr>
          <p:nvPr/>
        </p:nvSpPr>
        <p:spPr>
          <a:xfrm>
            <a:off x="2952953" y="1509223"/>
            <a:ext cx="1059272" cy="321348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b="1" dirty="0">
                <a:solidFill>
                  <a:schemeClr val="accent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+</a:t>
            </a:r>
            <a:r>
              <a:rPr lang="kk-KZ" sz="2000" b="1" dirty="0">
                <a:solidFill>
                  <a:schemeClr val="accent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36,2</a:t>
            </a:r>
            <a:r>
              <a:rPr lang="ru-RU" sz="2000" b="1" dirty="0">
                <a:solidFill>
                  <a:schemeClr val="accent1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%</a:t>
            </a:r>
            <a:endParaRPr lang="ru-RU" sz="1200" b="1" dirty="0">
              <a:solidFill>
                <a:schemeClr val="bg1">
                  <a:lumMod val="75000"/>
                </a:schemeClr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xmlns="" id="{99B15B05-C3BD-46FA-BFBC-2F3BB34256AB}"/>
              </a:ext>
            </a:extLst>
          </p:cNvPr>
          <p:cNvSpPr/>
          <p:nvPr/>
        </p:nvSpPr>
        <p:spPr>
          <a:xfrm>
            <a:off x="4241006" y="1568562"/>
            <a:ext cx="792079" cy="1673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 err="1" smtClean="0">
                <a:solidFill>
                  <a:schemeClr val="bg1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bln</a:t>
            </a:r>
            <a:r>
              <a:rPr lang="ru-RU" sz="1000" b="1" dirty="0" smtClean="0">
                <a:solidFill>
                  <a:schemeClr val="bg1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 </a:t>
            </a:r>
            <a:r>
              <a:rPr lang="en-US" sz="1000" b="1" dirty="0" err="1" smtClean="0">
                <a:solidFill>
                  <a:schemeClr val="bg1">
                    <a:lumMod val="50000"/>
                  </a:schemeClr>
                </a:solidFill>
                <a:latin typeface="+mj-lt"/>
                <a:cs typeface="Arial" panose="020B0604020202020204" pitchFamily="34" charset="0"/>
              </a:rPr>
              <a:t>tg</a:t>
            </a:r>
            <a:endParaRPr lang="ru-RU" sz="1000" b="1" dirty="0">
              <a:solidFill>
                <a:schemeClr val="bg1">
                  <a:lumMod val="50000"/>
                </a:schemeClr>
              </a:solidFill>
              <a:latin typeface="+mj-lt"/>
              <a:cs typeface="Arial" panose="020B0604020202020204" pitchFamily="34" charset="0"/>
            </a:endParaRPr>
          </a:p>
        </p:txBody>
      </p:sp>
      <p:graphicFrame>
        <p:nvGraphicFramePr>
          <p:cNvPr id="160" name="Диаграмма 159">
            <a:extLst>
              <a:ext uri="{FF2B5EF4-FFF2-40B4-BE49-F238E27FC236}">
                <a16:creationId xmlns:a16="http://schemas.microsoft.com/office/drawing/2014/main" xmlns="" id="{B6530CB4-0D22-4022-BF6E-4F3B2B2C849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92520699"/>
              </p:ext>
            </p:extLst>
          </p:nvPr>
        </p:nvGraphicFramePr>
        <p:xfrm>
          <a:off x="1744719" y="1792804"/>
          <a:ext cx="3529384" cy="11793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3"/>
          </a:graphicData>
        </a:graphic>
      </p:graphicFrame>
      <p:pic>
        <p:nvPicPr>
          <p:cNvPr id="161" name="Picture 8" descr="Лоснистое флага Узбекистана круглое Иллюстрация вектора - иллюстрации  насчитывающей флага, лоснистое: 150320446">
            <a:extLst>
              <a:ext uri="{FF2B5EF4-FFF2-40B4-BE49-F238E27FC236}">
                <a16:creationId xmlns:a16="http://schemas.microsoft.com/office/drawing/2014/main" xmlns="" id="{0248C6EC-E469-4595-9577-65DCC4408AA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7" cstate="print">
            <a:extLst>
              <a:ext uri="{BEBA8EAE-BF5A-486C-A8C5-ECC9F3942E4B}">
                <a14:imgProps xmlns:a14="http://schemas.microsoft.com/office/drawing/2010/main">
                  <a14:imgLayer r:embed="rId28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20014" y="3954263"/>
            <a:ext cx="754097" cy="7540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376984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6xvGzokaE2xd5hI8.LP4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0fJZgLSVE6X4v0PG3cyS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FVsQXKSV0eYbV2cpuhQ3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0aTkfuI0SJ09XDltMIE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IaERBKqW0KOMWKJRG_s1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nWd1gg4kyXdTD4bLu5V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3Ohp6xo0ON7g.eBq2rn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atwNHxjfEiPXtpJrmcBK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dN2anMDcUaX26ucTva9G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6xvGzokaE2xd5hI8.LP4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6xvGzokaE2xd5hI8.LP4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FVsQXKSV0eYbV2cpuhQ3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nWd1gg4kyXdTD4bLu5V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nWd1gg4kyXdTD4bLu5V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JUszkwqp0mMzioPJQ_v6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F2Tn_rIU6dtBShFvmJX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6xvGzokaE2xd5hI8.LP4A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Сетка">
  <a:themeElements>
    <a:clrScheme name="Оранжевый">
      <a:dk1>
        <a:srgbClr val="000000"/>
      </a:dk1>
      <a:lt1>
        <a:sysClr val="window" lastClr="FFFFFF"/>
      </a:lt1>
      <a:dk2>
        <a:srgbClr val="637052"/>
      </a:dk2>
      <a:lt2>
        <a:srgbClr val="CCDDEA"/>
      </a:lt2>
      <a:accent1>
        <a:srgbClr val="E48312"/>
      </a:accent1>
      <a:accent2>
        <a:srgbClr val="BD582C"/>
      </a:accent2>
      <a:accent3>
        <a:srgbClr val="865640"/>
      </a:accent3>
      <a:accent4>
        <a:srgbClr val="9B8357"/>
      </a:accent4>
      <a:accent5>
        <a:srgbClr val="C2BC80"/>
      </a:accent5>
      <a:accent6>
        <a:srgbClr val="94A088"/>
      </a:accent6>
      <a:hlink>
        <a:srgbClr val="2998E3"/>
      </a:hlink>
      <a:folHlink>
        <a:srgbClr val="8C8C8C"/>
      </a:folHlink>
    </a:clrScheme>
    <a:fontScheme name="Сетка">
      <a:maj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Сетка">
      <a:fillStyleLst>
        <a:solidFill>
          <a:schemeClr val="phClr"/>
        </a:solidFill>
        <a:gradFill rotWithShape="1">
          <a:gsLst>
            <a:gs pos="0">
              <a:schemeClr val="phClr">
                <a:tint val="60000"/>
                <a:lumMod val="110000"/>
              </a:schemeClr>
            </a:gs>
            <a:gs pos="100000">
              <a:schemeClr val="phClr">
                <a:tint val="82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4000"/>
              </a:schemeClr>
            </a:gs>
            <a:gs pos="100000">
              <a:schemeClr val="phClr">
                <a:shade val="84000"/>
                <a:lumMod val="84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innerShdw blurRad="50800" dist="25400" dir="13500000">
              <a:srgbClr val="000000">
                <a:alpha val="55000"/>
              </a:srgbClr>
            </a:innerShdw>
          </a:effectLst>
        </a:effectStyle>
        <a:effectStyle>
          <a:effectLst>
            <a:outerShdw blurRad="50800" dist="38100" dir="5400000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>
            <a:bevelT w="25400" h="25400" prst="slope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64000"/>
                <a:lumMod val="98000"/>
              </a:schemeClr>
            </a:gs>
          </a:gsLst>
          <a:lin ang="5400000" scaled="0"/>
        </a:gradFill>
        <a:blipFill rotWithShape="1">
          <a:blip xmlns:r="http://schemas.openxmlformats.org/officeDocument/2006/relationships" r:embed="rId1">
            <a:duotone>
              <a:schemeClr val="phClr">
                <a:shade val="28000"/>
                <a:satMod val="94000"/>
                <a:lumMod val="20000"/>
              </a:schemeClr>
              <a:schemeClr val="phClr">
                <a:tint val="94000"/>
                <a:shade val="84000"/>
                <a:satMod val="148000"/>
                <a:lumMod val="114000"/>
              </a:schemeClr>
            </a:duotone>
          </a:blip>
          <a:stretch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Mesh" id="{789EC3FE-34FD-429C-9918-760025E6C145}" vid="{B8BE45C0-8141-4D58-8C71-A009BC26FBBB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Сетка</Template>
  <TotalTime>4214</TotalTime>
  <Words>146</Words>
  <Application>Microsoft Office PowerPoint</Application>
  <PresentationFormat>Экран (4:3)</PresentationFormat>
  <Paragraphs>64</Paragraphs>
  <Slides>1</Slides>
  <Notes>1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1</vt:i4>
      </vt:variant>
    </vt:vector>
  </HeadingPairs>
  <TitlesOfParts>
    <vt:vector size="2" baseType="lpstr">
      <vt:lpstr>Сетка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РЕЗУЛЬТАТЫ ОБРАБАТЫВАЩЕЙ ПРОМЫШЛЕННОСТИ  ЗА 1 КВАРТАЛ 2020 ГОДА</dc:title>
  <dc:creator>Admin</dc:creator>
  <cp:lastModifiedBy>Sanzhar</cp:lastModifiedBy>
  <cp:revision>221</cp:revision>
  <dcterms:created xsi:type="dcterms:W3CDTF">2020-04-15T04:44:30Z</dcterms:created>
  <dcterms:modified xsi:type="dcterms:W3CDTF">2022-02-09T16:41:14Z</dcterms:modified>
</cp:coreProperties>
</file>